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6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7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8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9.xml" ContentType="application/vnd.openxmlformats-officedocument.them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10.xml" ContentType="application/vnd.openxmlformats-officedocument.them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1.xml" ContentType="application/vnd.openxmlformats-officedocument.presentationml.notesSlide+xml"/>
  <Override PartName="/ppt/tags/tag125.xml" ContentType="application/vnd.openxmlformats-officedocument.presentationml.tags+xml"/>
  <Override PartName="/ppt/notesSlides/notesSlide2.xml" ContentType="application/vnd.openxmlformats-officedocument.presentationml.notesSlide+xml"/>
  <Override PartName="/ppt/tags/tag126.xml" ContentType="application/vnd.openxmlformats-officedocument.presentationml.tags+xml"/>
  <Override PartName="/ppt/notesSlides/notesSlide3.xml" ContentType="application/vnd.openxmlformats-officedocument.presentationml.notesSlide+xml"/>
  <Override PartName="/ppt/tags/tag127.xml" ContentType="application/vnd.openxmlformats-officedocument.presentationml.tags+xml"/>
  <Override PartName="/ppt/notesSlides/notesSlide4.xml" ContentType="application/vnd.openxmlformats-officedocument.presentationml.notesSlide+xml"/>
  <Override PartName="/ppt/tags/tag128.xml" ContentType="application/vnd.openxmlformats-officedocument.presentationml.tags+xml"/>
  <Override PartName="/ppt/notesSlides/notesSlide5.xml" ContentType="application/vnd.openxmlformats-officedocument.presentationml.notesSlide+xml"/>
  <Override PartName="/ppt/tags/tag129.xml" ContentType="application/vnd.openxmlformats-officedocument.presentationml.tags+xml"/>
  <Override PartName="/ppt/notesSlides/notesSlide6.xml" ContentType="application/vnd.openxmlformats-officedocument.presentationml.notesSlide+xml"/>
  <Override PartName="/ppt/tags/tag130.xml" ContentType="application/vnd.openxmlformats-officedocument.presentationml.tags+xml"/>
  <Override PartName="/ppt/notesSlides/notesSlide7.xml" ContentType="application/vnd.openxmlformats-officedocument.presentationml.notesSlide+xml"/>
  <Override PartName="/ppt/tags/tag131.xml" ContentType="application/vnd.openxmlformats-officedocument.presentationml.tags+xml"/>
  <Override PartName="/ppt/notesSlides/notesSlide8.xml" ContentType="application/vnd.openxmlformats-officedocument.presentationml.notesSlide+xml"/>
  <Override PartName="/ppt/tags/tag132.xml" ContentType="application/vnd.openxmlformats-officedocument.presentationml.tags+xml"/>
  <Override PartName="/ppt/notesSlides/notesSlide9.xml" ContentType="application/vnd.openxmlformats-officedocument.presentationml.notesSlide+xml"/>
  <Override PartName="/ppt/tags/tag133.xml" ContentType="application/vnd.openxmlformats-officedocument.presentationml.tags+xml"/>
  <Override PartName="/ppt/notesSlides/notesSlide10.xml" ContentType="application/vnd.openxmlformats-officedocument.presentationml.notesSlide+xml"/>
  <Override PartName="/ppt/tags/tag134.xml" ContentType="application/vnd.openxmlformats-officedocument.presentationml.tags+xml"/>
  <Override PartName="/ppt/notesSlides/notesSlide11.xml" ContentType="application/vnd.openxmlformats-officedocument.presentationml.notesSlide+xml"/>
  <Override PartName="/ppt/tags/tag135.xml" ContentType="application/vnd.openxmlformats-officedocument.presentationml.tags+xml"/>
  <Override PartName="/ppt/notesSlides/notesSlide12.xml" ContentType="application/vnd.openxmlformats-officedocument.presentationml.notesSlid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notesSlides/notesSlide13.xml" ContentType="application/vnd.openxmlformats-officedocument.presentationml.notesSlid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4" r:id="rId4"/>
    <p:sldMasterId id="2147483670" r:id="rId5"/>
    <p:sldMasterId id="2147483678" r:id="rId6"/>
    <p:sldMasterId id="2147483687" r:id="rId7"/>
    <p:sldMasterId id="2147483696" r:id="rId8"/>
    <p:sldMasterId id="2147483705" r:id="rId9"/>
    <p:sldMasterId id="2147483714" r:id="rId10"/>
    <p:sldMasterId id="2147483723" r:id="rId11"/>
    <p:sldMasterId id="2147483732" r:id="rId12"/>
    <p:sldMasterId id="2147483741" r:id="rId13"/>
  </p:sldMasterIdLst>
  <p:notesMasterIdLst>
    <p:notesMasterId r:id="rId28"/>
  </p:notesMasterIdLst>
  <p:handoutMasterIdLst>
    <p:handoutMasterId r:id="rId29"/>
  </p:handoutMasterIdLst>
  <p:sldIdLst>
    <p:sldId id="256" r:id="rId14"/>
    <p:sldId id="2135" r:id="rId15"/>
    <p:sldId id="2232" r:id="rId16"/>
    <p:sldId id="1762" r:id="rId17"/>
    <p:sldId id="2224" r:id="rId18"/>
    <p:sldId id="2225" r:id="rId19"/>
    <p:sldId id="2226" r:id="rId20"/>
    <p:sldId id="2230" r:id="rId21"/>
    <p:sldId id="2228" r:id="rId22"/>
    <p:sldId id="2227" r:id="rId23"/>
    <p:sldId id="2231" r:id="rId24"/>
    <p:sldId id="2229" r:id="rId25"/>
    <p:sldId id="1598" r:id="rId26"/>
    <p:sldId id="2213" r:id="rId27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09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  <p:cmAuthor id="3" name="Aurelien Domont" initials="AD" lastIdx="1" clrIdx="2">
    <p:extLst>
      <p:ext uri="{19B8F6BF-5375-455C-9EA6-DF929625EA0E}">
        <p15:presenceInfo xmlns:p15="http://schemas.microsoft.com/office/powerpoint/2012/main" userId="6da7715ce44349b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3EA9F5"/>
    <a:srgbClr val="EBF2FF"/>
    <a:srgbClr val="D3EFCE"/>
    <a:srgbClr val="F7F7F7"/>
    <a:srgbClr val="EBF6DE"/>
    <a:srgbClr val="D9D9D9"/>
    <a:srgbClr val="92D050"/>
    <a:srgbClr val="FF0000"/>
    <a:srgbClr val="00B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4264FC0-BB74-49B6-8733-6867235AAE8E}" v="35" dt="2023-05-09T06:35:39.86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90" autoAdjust="0"/>
    <p:restoredTop sz="96357" autoAdjust="0"/>
  </p:normalViewPr>
  <p:slideViewPr>
    <p:cSldViewPr snapToGrid="0">
      <p:cViewPr varScale="1">
        <p:scale>
          <a:sx n="107" d="100"/>
          <a:sy n="107" d="100"/>
        </p:scale>
        <p:origin x="678" y="108"/>
      </p:cViewPr>
      <p:guideLst>
        <p:guide orient="horz" pos="2409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674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21" Type="http://schemas.openxmlformats.org/officeDocument/2006/relationships/slide" Target="slides/slide8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notesMaster" Target="notesMasters/notesMaster1.xml"/><Relationship Id="rId36" Type="http://schemas.microsoft.com/office/2016/11/relationships/changesInfo" Target="changesInfos/changesInfo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urelien Domont" userId="6da7715ce44349b3" providerId="LiveId" clId="{64264FC0-BB74-49B6-8733-6867235AAE8E}"/>
    <pc:docChg chg="undo redo custSel addSld delSld modSld sldOrd">
      <pc:chgData name="Aurelien Domont" userId="6da7715ce44349b3" providerId="LiveId" clId="{64264FC0-BB74-49B6-8733-6867235AAE8E}" dt="2023-05-11T06:29:10.521" v="2541" actId="20577"/>
      <pc:docMkLst>
        <pc:docMk/>
      </pc:docMkLst>
      <pc:sldChg chg="modSp mod">
        <pc:chgData name="Aurelien Domont" userId="6da7715ce44349b3" providerId="LiveId" clId="{64264FC0-BB74-49B6-8733-6867235AAE8E}" dt="2023-05-09T04:11:31.613" v="22" actId="20577"/>
        <pc:sldMkLst>
          <pc:docMk/>
          <pc:sldMk cId="3131901387" sldId="256"/>
        </pc:sldMkLst>
        <pc:spChg chg="mod">
          <ac:chgData name="Aurelien Domont" userId="6da7715ce44349b3" providerId="LiveId" clId="{64264FC0-BB74-49B6-8733-6867235AAE8E}" dt="2023-05-09T04:11:31.613" v="22" actId="20577"/>
          <ac:spMkLst>
            <pc:docMk/>
            <pc:sldMk cId="3131901387" sldId="256"/>
            <ac:spMk id="2" creationId="{5261080C-C60C-4746-B6B1-A9A4FFA86785}"/>
          </ac:spMkLst>
        </pc:spChg>
      </pc:sldChg>
      <pc:sldChg chg="addSp delSp modSp mod">
        <pc:chgData name="Aurelien Domont" userId="6da7715ce44349b3" providerId="LiveId" clId="{64264FC0-BB74-49B6-8733-6867235AAE8E}" dt="2023-05-09T04:20:10.049" v="62" actId="1076"/>
        <pc:sldMkLst>
          <pc:docMk/>
          <pc:sldMk cId="2841604578" sldId="1762"/>
        </pc:sldMkLst>
        <pc:spChg chg="mod">
          <ac:chgData name="Aurelien Domont" userId="6da7715ce44349b3" providerId="LiveId" clId="{64264FC0-BB74-49B6-8733-6867235AAE8E}" dt="2023-05-09T04:12:31.324" v="43" actId="20577"/>
          <ac:spMkLst>
            <pc:docMk/>
            <pc:sldMk cId="2841604578" sldId="1762"/>
            <ac:spMk id="16" creationId="{6C2BB713-9637-4B9B-938F-E9768876782A}"/>
          </ac:spMkLst>
        </pc:spChg>
        <pc:picChg chg="del">
          <ac:chgData name="Aurelien Domont" userId="6da7715ce44349b3" providerId="LiveId" clId="{64264FC0-BB74-49B6-8733-6867235AAE8E}" dt="2023-05-09T04:20:03.094" v="59" actId="478"/>
          <ac:picMkLst>
            <pc:docMk/>
            <pc:sldMk cId="2841604578" sldId="1762"/>
            <ac:picMk id="4" creationId="{E27D2780-3C7A-07D0-7766-0AACD5BFA38B}"/>
          </ac:picMkLst>
        </pc:picChg>
        <pc:picChg chg="add del">
          <ac:chgData name="Aurelien Domont" userId="6da7715ce44349b3" providerId="LiveId" clId="{64264FC0-BB74-49B6-8733-6867235AAE8E}" dt="2023-05-09T04:19:56.184" v="56" actId="478"/>
          <ac:picMkLst>
            <pc:docMk/>
            <pc:sldMk cId="2841604578" sldId="1762"/>
            <ac:picMk id="5" creationId="{BECF2130-B93D-C3C8-828F-629B01983481}"/>
          </ac:picMkLst>
        </pc:picChg>
        <pc:picChg chg="add mod">
          <ac:chgData name="Aurelien Domont" userId="6da7715ce44349b3" providerId="LiveId" clId="{64264FC0-BB74-49B6-8733-6867235AAE8E}" dt="2023-05-09T04:20:10.049" v="62" actId="1076"/>
          <ac:picMkLst>
            <pc:docMk/>
            <pc:sldMk cId="2841604578" sldId="1762"/>
            <ac:picMk id="7" creationId="{2219ED5F-9FC2-E64A-A8BD-2C01139A8878}"/>
          </ac:picMkLst>
        </pc:picChg>
      </pc:sldChg>
      <pc:sldChg chg="addSp delSp modSp add mod">
        <pc:chgData name="Aurelien Domont" userId="6da7715ce44349b3" providerId="LiveId" clId="{64264FC0-BB74-49B6-8733-6867235AAE8E}" dt="2023-05-09T05:48:50.870" v="2221" actId="20577"/>
        <pc:sldMkLst>
          <pc:docMk/>
          <pc:sldMk cId="1762358644" sldId="2135"/>
        </pc:sldMkLst>
        <pc:spChg chg="mod">
          <ac:chgData name="Aurelien Domont" userId="6da7715ce44349b3" providerId="LiveId" clId="{64264FC0-BB74-49B6-8733-6867235AAE8E}" dt="2023-05-09T05:26:45.850" v="2193" actId="20577"/>
          <ac:spMkLst>
            <pc:docMk/>
            <pc:sldMk cId="1762358644" sldId="2135"/>
            <ac:spMk id="3" creationId="{354CC573-61B1-49E0-840D-529396975FB2}"/>
          </ac:spMkLst>
        </pc:spChg>
        <pc:spChg chg="add mod">
          <ac:chgData name="Aurelien Domont" userId="6da7715ce44349b3" providerId="LiveId" clId="{64264FC0-BB74-49B6-8733-6867235AAE8E}" dt="2023-05-09T05:22:54.813" v="2166" actId="20577"/>
          <ac:spMkLst>
            <pc:docMk/>
            <pc:sldMk cId="1762358644" sldId="2135"/>
            <ac:spMk id="4" creationId="{614E6A89-00E5-7B15-129C-7E2EAAADB1E4}"/>
          </ac:spMkLst>
        </pc:spChg>
        <pc:spChg chg="add mod">
          <ac:chgData name="Aurelien Domont" userId="6da7715ce44349b3" providerId="LiveId" clId="{64264FC0-BB74-49B6-8733-6867235AAE8E}" dt="2023-05-09T05:06:18.815" v="2041" actId="1036"/>
          <ac:spMkLst>
            <pc:docMk/>
            <pc:sldMk cId="1762358644" sldId="2135"/>
            <ac:spMk id="5" creationId="{86F2F7A6-095F-16AE-6DDF-964157B2D575}"/>
          </ac:spMkLst>
        </pc:spChg>
        <pc:spChg chg="add mod">
          <ac:chgData name="Aurelien Domont" userId="6da7715ce44349b3" providerId="LiveId" clId="{64264FC0-BB74-49B6-8733-6867235AAE8E}" dt="2023-05-09T05:06:18.815" v="2041" actId="1036"/>
          <ac:spMkLst>
            <pc:docMk/>
            <pc:sldMk cId="1762358644" sldId="2135"/>
            <ac:spMk id="6" creationId="{FC3BEF05-2ED9-FFE6-6CB1-3BA90F0E5EE3}"/>
          </ac:spMkLst>
        </pc:spChg>
        <pc:spChg chg="add mod">
          <ac:chgData name="Aurelien Domont" userId="6da7715ce44349b3" providerId="LiveId" clId="{64264FC0-BB74-49B6-8733-6867235AAE8E}" dt="2023-05-09T05:06:18.815" v="2041" actId="1036"/>
          <ac:spMkLst>
            <pc:docMk/>
            <pc:sldMk cId="1762358644" sldId="2135"/>
            <ac:spMk id="7" creationId="{F9A77C15-F6D1-D1B7-BC9D-ADA12D590547}"/>
          </ac:spMkLst>
        </pc:spChg>
        <pc:spChg chg="add mod">
          <ac:chgData name="Aurelien Domont" userId="6da7715ce44349b3" providerId="LiveId" clId="{64264FC0-BB74-49B6-8733-6867235AAE8E}" dt="2023-05-09T05:06:18.815" v="2041" actId="1036"/>
          <ac:spMkLst>
            <pc:docMk/>
            <pc:sldMk cId="1762358644" sldId="2135"/>
            <ac:spMk id="8" creationId="{0BEB1C21-2F5F-D52C-5F6E-6479FC2DB7AE}"/>
          </ac:spMkLst>
        </pc:spChg>
        <pc:spChg chg="add mod">
          <ac:chgData name="Aurelien Domont" userId="6da7715ce44349b3" providerId="LiveId" clId="{64264FC0-BB74-49B6-8733-6867235AAE8E}" dt="2023-05-09T05:48:50.870" v="2221" actId="20577"/>
          <ac:spMkLst>
            <pc:docMk/>
            <pc:sldMk cId="1762358644" sldId="2135"/>
            <ac:spMk id="9" creationId="{23F0D61C-B96F-3CCB-B03B-CE5B19D1F329}"/>
          </ac:spMkLst>
        </pc:spChg>
        <pc:spChg chg="add del mod">
          <ac:chgData name="Aurelien Domont" userId="6da7715ce44349b3" providerId="LiveId" clId="{64264FC0-BB74-49B6-8733-6867235AAE8E}" dt="2023-05-09T05:04:24.054" v="1912" actId="478"/>
          <ac:spMkLst>
            <pc:docMk/>
            <pc:sldMk cId="1762358644" sldId="2135"/>
            <ac:spMk id="10" creationId="{66ED01E3-0FFD-E8F1-745B-3FD97BD57740}"/>
          </ac:spMkLst>
        </pc:spChg>
        <pc:spChg chg="del">
          <ac:chgData name="Aurelien Domont" userId="6da7715ce44349b3" providerId="LiveId" clId="{64264FC0-BB74-49B6-8733-6867235AAE8E}" dt="2023-05-09T04:55:37.549" v="1555" actId="478"/>
          <ac:spMkLst>
            <pc:docMk/>
            <pc:sldMk cId="1762358644" sldId="2135"/>
            <ac:spMk id="11" creationId="{A597398E-9964-4760-BE83-9913F2C81F8F}"/>
          </ac:spMkLst>
        </pc:spChg>
        <pc:spChg chg="del">
          <ac:chgData name="Aurelien Domont" userId="6da7715ce44349b3" providerId="LiveId" clId="{64264FC0-BB74-49B6-8733-6867235AAE8E}" dt="2023-05-09T04:55:37.549" v="1555" actId="478"/>
          <ac:spMkLst>
            <pc:docMk/>
            <pc:sldMk cId="1762358644" sldId="2135"/>
            <ac:spMk id="12" creationId="{72A5A317-CCEF-477B-BD7E-E93644D5F443}"/>
          </ac:spMkLst>
        </pc:spChg>
        <pc:spChg chg="del">
          <ac:chgData name="Aurelien Domont" userId="6da7715ce44349b3" providerId="LiveId" clId="{64264FC0-BB74-49B6-8733-6867235AAE8E}" dt="2023-05-09T04:55:37.549" v="1555" actId="478"/>
          <ac:spMkLst>
            <pc:docMk/>
            <pc:sldMk cId="1762358644" sldId="2135"/>
            <ac:spMk id="14" creationId="{6F683B2C-4208-4DA2-A5A9-0F54B0DAE309}"/>
          </ac:spMkLst>
        </pc:spChg>
        <pc:spChg chg="del">
          <ac:chgData name="Aurelien Domont" userId="6da7715ce44349b3" providerId="LiveId" clId="{64264FC0-BB74-49B6-8733-6867235AAE8E}" dt="2023-05-09T04:55:37.549" v="1555" actId="478"/>
          <ac:spMkLst>
            <pc:docMk/>
            <pc:sldMk cId="1762358644" sldId="2135"/>
            <ac:spMk id="15" creationId="{E0728C11-3ABF-43D2-A256-CCB0E6C16922}"/>
          </ac:spMkLst>
        </pc:spChg>
        <pc:spChg chg="del">
          <ac:chgData name="Aurelien Domont" userId="6da7715ce44349b3" providerId="LiveId" clId="{64264FC0-BB74-49B6-8733-6867235AAE8E}" dt="2023-05-09T04:55:37.549" v="1555" actId="478"/>
          <ac:spMkLst>
            <pc:docMk/>
            <pc:sldMk cId="1762358644" sldId="2135"/>
            <ac:spMk id="17" creationId="{428E633A-A6A0-4F56-8F9A-73FB8A86AE93}"/>
          </ac:spMkLst>
        </pc:spChg>
        <pc:spChg chg="del">
          <ac:chgData name="Aurelien Domont" userId="6da7715ce44349b3" providerId="LiveId" clId="{64264FC0-BB74-49B6-8733-6867235AAE8E}" dt="2023-05-09T04:55:37.549" v="1555" actId="478"/>
          <ac:spMkLst>
            <pc:docMk/>
            <pc:sldMk cId="1762358644" sldId="2135"/>
            <ac:spMk id="18" creationId="{17E45525-5679-4837-B6D1-8BFA31BC8485}"/>
          </ac:spMkLst>
        </pc:spChg>
        <pc:spChg chg="del">
          <ac:chgData name="Aurelien Domont" userId="6da7715ce44349b3" providerId="LiveId" clId="{64264FC0-BB74-49B6-8733-6867235AAE8E}" dt="2023-05-09T04:55:37.549" v="1555" actId="478"/>
          <ac:spMkLst>
            <pc:docMk/>
            <pc:sldMk cId="1762358644" sldId="2135"/>
            <ac:spMk id="19" creationId="{A478F9CB-73E3-462B-836A-F8144A3609D7}"/>
          </ac:spMkLst>
        </pc:spChg>
        <pc:spChg chg="del">
          <ac:chgData name="Aurelien Domont" userId="6da7715ce44349b3" providerId="LiveId" clId="{64264FC0-BB74-49B6-8733-6867235AAE8E}" dt="2023-05-09T04:55:37.549" v="1555" actId="478"/>
          <ac:spMkLst>
            <pc:docMk/>
            <pc:sldMk cId="1762358644" sldId="2135"/>
            <ac:spMk id="20" creationId="{9D040486-FC04-4F02-8EFC-3633F4DC8C01}"/>
          </ac:spMkLst>
        </pc:spChg>
        <pc:spChg chg="add del mod">
          <ac:chgData name="Aurelien Domont" userId="6da7715ce44349b3" providerId="LiveId" clId="{64264FC0-BB74-49B6-8733-6867235AAE8E}" dt="2023-05-09T05:02:21.645" v="1848" actId="478"/>
          <ac:spMkLst>
            <pc:docMk/>
            <pc:sldMk cId="1762358644" sldId="2135"/>
            <ac:spMk id="21" creationId="{3CD4A9BC-8982-280B-C826-68C95463ABBE}"/>
          </ac:spMkLst>
        </pc:spChg>
        <pc:spChg chg="del">
          <ac:chgData name="Aurelien Domont" userId="6da7715ce44349b3" providerId="LiveId" clId="{64264FC0-BB74-49B6-8733-6867235AAE8E}" dt="2023-05-09T04:55:37.549" v="1555" actId="478"/>
          <ac:spMkLst>
            <pc:docMk/>
            <pc:sldMk cId="1762358644" sldId="2135"/>
            <ac:spMk id="22" creationId="{0DDF831D-1EB0-4DC1-9020-DF869F5ADC99}"/>
          </ac:spMkLst>
        </pc:spChg>
        <pc:spChg chg="add del mod">
          <ac:chgData name="Aurelien Domont" userId="6da7715ce44349b3" providerId="LiveId" clId="{64264FC0-BB74-49B6-8733-6867235AAE8E}" dt="2023-05-09T05:04:24.054" v="1912" actId="478"/>
          <ac:spMkLst>
            <pc:docMk/>
            <pc:sldMk cId="1762358644" sldId="2135"/>
            <ac:spMk id="23" creationId="{18EF966B-02B2-B222-E826-C67DE11F97AF}"/>
          </ac:spMkLst>
        </pc:spChg>
        <pc:spChg chg="add del mod">
          <ac:chgData name="Aurelien Domont" userId="6da7715ce44349b3" providerId="LiveId" clId="{64264FC0-BB74-49B6-8733-6867235AAE8E}" dt="2023-05-09T05:02:19.274" v="1847" actId="478"/>
          <ac:spMkLst>
            <pc:docMk/>
            <pc:sldMk cId="1762358644" sldId="2135"/>
            <ac:spMk id="24" creationId="{0FE30853-E395-217C-1DB8-D2F8A2B47BE1}"/>
          </ac:spMkLst>
        </pc:spChg>
        <pc:spChg chg="del">
          <ac:chgData name="Aurelien Domont" userId="6da7715ce44349b3" providerId="LiveId" clId="{64264FC0-BB74-49B6-8733-6867235AAE8E}" dt="2023-05-09T04:55:37.549" v="1555" actId="478"/>
          <ac:spMkLst>
            <pc:docMk/>
            <pc:sldMk cId="1762358644" sldId="2135"/>
            <ac:spMk id="25" creationId="{CFE1FE9C-2E84-4EBD-B9A3-7B0776C7743E}"/>
          </ac:spMkLst>
        </pc:spChg>
        <pc:spChg chg="add del mod">
          <ac:chgData name="Aurelien Domont" userId="6da7715ce44349b3" providerId="LiveId" clId="{64264FC0-BB74-49B6-8733-6867235AAE8E}" dt="2023-05-09T05:02:17.917" v="1846" actId="478"/>
          <ac:spMkLst>
            <pc:docMk/>
            <pc:sldMk cId="1762358644" sldId="2135"/>
            <ac:spMk id="26" creationId="{D69C6A24-C4A2-9114-7B59-EC9BF2BF730B}"/>
          </ac:spMkLst>
        </pc:spChg>
        <pc:spChg chg="add del mod">
          <ac:chgData name="Aurelien Domont" userId="6da7715ce44349b3" providerId="LiveId" clId="{64264FC0-BB74-49B6-8733-6867235AAE8E}" dt="2023-05-09T05:03:03.413" v="1855" actId="478"/>
          <ac:spMkLst>
            <pc:docMk/>
            <pc:sldMk cId="1762358644" sldId="2135"/>
            <ac:spMk id="27" creationId="{5E28581F-2C0D-1EE5-963F-0BE24CD7AFD1}"/>
          </ac:spMkLst>
        </pc:spChg>
        <pc:spChg chg="add del mod">
          <ac:chgData name="Aurelien Domont" userId="6da7715ce44349b3" providerId="LiveId" clId="{64264FC0-BB74-49B6-8733-6867235AAE8E}" dt="2023-05-09T05:04:24.054" v="1912" actId="478"/>
          <ac:spMkLst>
            <pc:docMk/>
            <pc:sldMk cId="1762358644" sldId="2135"/>
            <ac:spMk id="28" creationId="{610C3880-4EFE-59FF-12D3-4BE590B150C4}"/>
          </ac:spMkLst>
        </pc:spChg>
      </pc:sldChg>
      <pc:sldChg chg="modSp del mod">
        <pc:chgData name="Aurelien Domont" userId="6da7715ce44349b3" providerId="LiveId" clId="{64264FC0-BB74-49B6-8733-6867235AAE8E}" dt="2023-05-09T04:24:22.802" v="348" actId="47"/>
        <pc:sldMkLst>
          <pc:docMk/>
          <pc:sldMk cId="3483218684" sldId="2214"/>
        </pc:sldMkLst>
        <pc:spChg chg="mod">
          <ac:chgData name="Aurelien Domont" userId="6da7715ce44349b3" providerId="LiveId" clId="{64264FC0-BB74-49B6-8733-6867235AAE8E}" dt="2023-05-09T04:13:02.837" v="54" actId="20577"/>
          <ac:spMkLst>
            <pc:docMk/>
            <pc:sldMk cId="3483218684" sldId="2214"/>
            <ac:spMk id="16" creationId="{6C2BB713-9637-4B9B-938F-E9768876782A}"/>
          </ac:spMkLst>
        </pc:spChg>
      </pc:sldChg>
      <pc:sldChg chg="del">
        <pc:chgData name="Aurelien Domont" userId="6da7715ce44349b3" providerId="LiveId" clId="{64264FC0-BB74-49B6-8733-6867235AAE8E}" dt="2023-05-09T04:24:22.802" v="348" actId="47"/>
        <pc:sldMkLst>
          <pc:docMk/>
          <pc:sldMk cId="1958517497" sldId="2216"/>
        </pc:sldMkLst>
      </pc:sldChg>
      <pc:sldChg chg="del">
        <pc:chgData name="Aurelien Domont" userId="6da7715ce44349b3" providerId="LiveId" clId="{64264FC0-BB74-49B6-8733-6867235AAE8E}" dt="2023-05-09T04:24:22.802" v="348" actId="47"/>
        <pc:sldMkLst>
          <pc:docMk/>
          <pc:sldMk cId="1567968009" sldId="2217"/>
        </pc:sldMkLst>
      </pc:sldChg>
      <pc:sldChg chg="del">
        <pc:chgData name="Aurelien Domont" userId="6da7715ce44349b3" providerId="LiveId" clId="{64264FC0-BB74-49B6-8733-6867235AAE8E}" dt="2023-05-09T04:24:22.802" v="348" actId="47"/>
        <pc:sldMkLst>
          <pc:docMk/>
          <pc:sldMk cId="4166839729" sldId="2219"/>
        </pc:sldMkLst>
      </pc:sldChg>
      <pc:sldChg chg="del">
        <pc:chgData name="Aurelien Domont" userId="6da7715ce44349b3" providerId="LiveId" clId="{64264FC0-BB74-49B6-8733-6867235AAE8E}" dt="2023-05-09T04:24:22.802" v="348" actId="47"/>
        <pc:sldMkLst>
          <pc:docMk/>
          <pc:sldMk cId="2097558937" sldId="2220"/>
        </pc:sldMkLst>
      </pc:sldChg>
      <pc:sldChg chg="del">
        <pc:chgData name="Aurelien Domont" userId="6da7715ce44349b3" providerId="LiveId" clId="{64264FC0-BB74-49B6-8733-6867235AAE8E}" dt="2023-05-09T04:24:22.802" v="348" actId="47"/>
        <pc:sldMkLst>
          <pc:docMk/>
          <pc:sldMk cId="3590846903" sldId="2222"/>
        </pc:sldMkLst>
      </pc:sldChg>
      <pc:sldChg chg="del">
        <pc:chgData name="Aurelien Domont" userId="6da7715ce44349b3" providerId="LiveId" clId="{64264FC0-BB74-49B6-8733-6867235AAE8E}" dt="2023-05-09T04:24:22.802" v="348" actId="47"/>
        <pc:sldMkLst>
          <pc:docMk/>
          <pc:sldMk cId="1039551658" sldId="2223"/>
        </pc:sldMkLst>
      </pc:sldChg>
      <pc:sldChg chg="addSp delSp modSp add mod">
        <pc:chgData name="Aurelien Domont" userId="6da7715ce44349b3" providerId="LiveId" clId="{64264FC0-BB74-49B6-8733-6867235AAE8E}" dt="2023-05-11T06:29:10.521" v="2541" actId="20577"/>
        <pc:sldMkLst>
          <pc:docMk/>
          <pc:sldMk cId="629904517" sldId="2224"/>
        </pc:sldMkLst>
        <pc:spChg chg="add mod">
          <ac:chgData name="Aurelien Domont" userId="6da7715ce44349b3" providerId="LiveId" clId="{64264FC0-BB74-49B6-8733-6867235AAE8E}" dt="2023-05-09T04:34:24.488" v="577" actId="113"/>
          <ac:spMkLst>
            <pc:docMk/>
            <pc:sldMk cId="629904517" sldId="2224"/>
            <ac:spMk id="4" creationId="{638A5002-A231-C01B-9000-C5B6C6AEF16E}"/>
          </ac:spMkLst>
        </pc:spChg>
        <pc:spChg chg="mod">
          <ac:chgData name="Aurelien Domont" userId="6da7715ce44349b3" providerId="LiveId" clId="{64264FC0-BB74-49B6-8733-6867235AAE8E}" dt="2023-05-11T06:29:10.521" v="2541" actId="20577"/>
          <ac:spMkLst>
            <pc:docMk/>
            <pc:sldMk cId="629904517" sldId="2224"/>
            <ac:spMk id="16" creationId="{6C2BB713-9637-4B9B-938F-E9768876782A}"/>
          </ac:spMkLst>
        </pc:spChg>
        <pc:picChg chg="add mod">
          <ac:chgData name="Aurelien Domont" userId="6da7715ce44349b3" providerId="LiveId" clId="{64264FC0-BB74-49B6-8733-6867235AAE8E}" dt="2023-05-09T04:22:48.105" v="192" actId="108"/>
          <ac:picMkLst>
            <pc:docMk/>
            <pc:sldMk cId="629904517" sldId="2224"/>
            <ac:picMk id="2" creationId="{F9CCE1A3-E975-8538-8290-6C18ACCF1DD5}"/>
          </ac:picMkLst>
        </pc:picChg>
        <pc:picChg chg="del">
          <ac:chgData name="Aurelien Domont" userId="6da7715ce44349b3" providerId="LiveId" clId="{64264FC0-BB74-49B6-8733-6867235AAE8E}" dt="2023-05-09T04:20:58.184" v="169" actId="478"/>
          <ac:picMkLst>
            <pc:docMk/>
            <pc:sldMk cId="629904517" sldId="2224"/>
            <ac:picMk id="7" creationId="{2219ED5F-9FC2-E64A-A8BD-2C01139A8878}"/>
          </ac:picMkLst>
        </pc:picChg>
      </pc:sldChg>
      <pc:sldChg chg="addSp delSp modSp add mod">
        <pc:chgData name="Aurelien Domont" userId="6da7715ce44349b3" providerId="LiveId" clId="{64264FC0-BB74-49B6-8733-6867235AAE8E}" dt="2023-05-09T04:53:16.421" v="1550" actId="20577"/>
        <pc:sldMkLst>
          <pc:docMk/>
          <pc:sldMk cId="3398019307" sldId="2225"/>
        </pc:sldMkLst>
        <pc:spChg chg="del">
          <ac:chgData name="Aurelien Domont" userId="6da7715ce44349b3" providerId="LiveId" clId="{64264FC0-BB74-49B6-8733-6867235AAE8E}" dt="2023-05-09T04:25:25.892" v="355" actId="478"/>
          <ac:spMkLst>
            <pc:docMk/>
            <pc:sldMk cId="3398019307" sldId="2225"/>
            <ac:spMk id="4" creationId="{638A5002-A231-C01B-9000-C5B6C6AEF16E}"/>
          </ac:spMkLst>
        </pc:spChg>
        <pc:spChg chg="add mod">
          <ac:chgData name="Aurelien Domont" userId="6da7715ce44349b3" providerId="LiveId" clId="{64264FC0-BB74-49B6-8733-6867235AAE8E}" dt="2023-05-09T04:53:16.421" v="1550" actId="20577"/>
          <ac:spMkLst>
            <pc:docMk/>
            <pc:sldMk cId="3398019307" sldId="2225"/>
            <ac:spMk id="9" creationId="{32157368-BDAE-0E1E-BBC3-6A933FB1DD8C}"/>
          </ac:spMkLst>
        </pc:spChg>
        <pc:spChg chg="mod">
          <ac:chgData name="Aurelien Domont" userId="6da7715ce44349b3" providerId="LiveId" clId="{64264FC0-BB74-49B6-8733-6867235AAE8E}" dt="2023-05-09T04:27:22.281" v="448" actId="20577"/>
          <ac:spMkLst>
            <pc:docMk/>
            <pc:sldMk cId="3398019307" sldId="2225"/>
            <ac:spMk id="16" creationId="{6C2BB713-9637-4B9B-938F-E9768876782A}"/>
          </ac:spMkLst>
        </pc:spChg>
        <pc:picChg chg="del">
          <ac:chgData name="Aurelien Domont" userId="6da7715ce44349b3" providerId="LiveId" clId="{64264FC0-BB74-49B6-8733-6867235AAE8E}" dt="2023-05-09T04:25:25.892" v="355" actId="478"/>
          <ac:picMkLst>
            <pc:docMk/>
            <pc:sldMk cId="3398019307" sldId="2225"/>
            <ac:picMk id="2" creationId="{F9CCE1A3-E975-8538-8290-6C18ACCF1DD5}"/>
          </ac:picMkLst>
        </pc:picChg>
        <pc:picChg chg="add del mod">
          <ac:chgData name="Aurelien Domont" userId="6da7715ce44349b3" providerId="LiveId" clId="{64264FC0-BB74-49B6-8733-6867235AAE8E}" dt="2023-05-09T04:26:40.484" v="442" actId="478"/>
          <ac:picMkLst>
            <pc:docMk/>
            <pc:sldMk cId="3398019307" sldId="2225"/>
            <ac:picMk id="6" creationId="{B02EAA6F-15E6-B0B1-BA66-30F6E8160B00}"/>
          </ac:picMkLst>
        </pc:picChg>
        <pc:picChg chg="add mod">
          <ac:chgData name="Aurelien Domont" userId="6da7715ce44349b3" providerId="LiveId" clId="{64264FC0-BB74-49B6-8733-6867235AAE8E}" dt="2023-05-09T04:27:21.087" v="447" actId="1076"/>
          <ac:picMkLst>
            <pc:docMk/>
            <pc:sldMk cId="3398019307" sldId="2225"/>
            <ac:picMk id="8" creationId="{9D0DE256-B4AB-A1B7-103D-DE8008B5F8FB}"/>
          </ac:picMkLst>
        </pc:picChg>
      </pc:sldChg>
      <pc:sldChg chg="addSp delSp modSp add mod">
        <pc:chgData name="Aurelien Domont" userId="6da7715ce44349b3" providerId="LiveId" clId="{64264FC0-BB74-49B6-8733-6867235AAE8E}" dt="2023-05-09T04:40:22.589" v="810" actId="20577"/>
        <pc:sldMkLst>
          <pc:docMk/>
          <pc:sldMk cId="3602293744" sldId="2226"/>
        </pc:sldMkLst>
        <pc:spChg chg="add del mod">
          <ac:chgData name="Aurelien Domont" userId="6da7715ce44349b3" providerId="LiveId" clId="{64264FC0-BB74-49B6-8733-6867235AAE8E}" dt="2023-05-09T04:35:06.320" v="585" actId="478"/>
          <ac:spMkLst>
            <pc:docMk/>
            <pc:sldMk cId="3602293744" sldId="2226"/>
            <ac:spMk id="5" creationId="{75CDA1FA-4770-5781-A828-89BECC26B9B2}"/>
          </ac:spMkLst>
        </pc:spChg>
        <pc:spChg chg="add mod">
          <ac:chgData name="Aurelien Domont" userId="6da7715ce44349b3" providerId="LiveId" clId="{64264FC0-BB74-49B6-8733-6867235AAE8E}" dt="2023-05-09T04:36:40.487" v="617" actId="14100"/>
          <ac:spMkLst>
            <pc:docMk/>
            <pc:sldMk cId="3602293744" sldId="2226"/>
            <ac:spMk id="6" creationId="{18BBCB72-951F-44C6-F496-A3C7690858B6}"/>
          </ac:spMkLst>
        </pc:spChg>
        <pc:spChg chg="add mod">
          <ac:chgData name="Aurelien Domont" userId="6da7715ce44349b3" providerId="LiveId" clId="{64264FC0-BB74-49B6-8733-6867235AAE8E}" dt="2023-05-09T04:38:55.183" v="798"/>
          <ac:spMkLst>
            <pc:docMk/>
            <pc:sldMk cId="3602293744" sldId="2226"/>
            <ac:spMk id="7" creationId="{BF87C73D-AE5B-0525-A208-67E8ACF95D9A}"/>
          </ac:spMkLst>
        </pc:spChg>
        <pc:spChg chg="add mod">
          <ac:chgData name="Aurelien Domont" userId="6da7715ce44349b3" providerId="LiveId" clId="{64264FC0-BB74-49B6-8733-6867235AAE8E}" dt="2023-05-09T04:39:41.961" v="806" actId="1036"/>
          <ac:spMkLst>
            <pc:docMk/>
            <pc:sldMk cId="3602293744" sldId="2226"/>
            <ac:spMk id="9" creationId="{D69E1472-A475-EFAD-FE37-720238EA6568}"/>
          </ac:spMkLst>
        </pc:spChg>
        <pc:spChg chg="mod">
          <ac:chgData name="Aurelien Domont" userId="6da7715ce44349b3" providerId="LiveId" clId="{64264FC0-BB74-49B6-8733-6867235AAE8E}" dt="2023-05-09T04:40:22.589" v="810" actId="20577"/>
          <ac:spMkLst>
            <pc:docMk/>
            <pc:sldMk cId="3602293744" sldId="2226"/>
            <ac:spMk id="16" creationId="{6C2BB713-9637-4B9B-938F-E9768876782A}"/>
          </ac:spMkLst>
        </pc:spChg>
        <pc:picChg chg="add mod">
          <ac:chgData name="Aurelien Domont" userId="6da7715ce44349b3" providerId="LiveId" clId="{64264FC0-BB74-49B6-8733-6867235AAE8E}" dt="2023-05-09T04:36:14.082" v="593" actId="1076"/>
          <ac:picMkLst>
            <pc:docMk/>
            <pc:sldMk cId="3602293744" sldId="2226"/>
            <ac:picMk id="4" creationId="{AA8A2D8D-AE91-3D4D-BFF1-10061341F10F}"/>
          </ac:picMkLst>
        </pc:picChg>
        <pc:picChg chg="del">
          <ac:chgData name="Aurelien Domont" userId="6da7715ce44349b3" providerId="LiveId" clId="{64264FC0-BB74-49B6-8733-6867235AAE8E}" dt="2023-05-09T04:27:43.258" v="455" actId="478"/>
          <ac:picMkLst>
            <pc:docMk/>
            <pc:sldMk cId="3602293744" sldId="2226"/>
            <ac:picMk id="8" creationId="{9D0DE256-B4AB-A1B7-103D-DE8008B5F8FB}"/>
          </ac:picMkLst>
        </pc:picChg>
      </pc:sldChg>
      <pc:sldChg chg="addSp delSp modSp add mod">
        <pc:chgData name="Aurelien Domont" userId="6da7715ce44349b3" providerId="LiveId" clId="{64264FC0-BB74-49B6-8733-6867235AAE8E}" dt="2023-05-09T05:26:04.284" v="2187" actId="1036"/>
        <pc:sldMkLst>
          <pc:docMk/>
          <pc:sldMk cId="4028717167" sldId="2227"/>
        </pc:sldMkLst>
        <pc:spChg chg="add del mod">
          <ac:chgData name="Aurelien Domont" userId="6da7715ce44349b3" providerId="LiveId" clId="{64264FC0-BB74-49B6-8733-6867235AAE8E}" dt="2023-05-09T05:26:01.453" v="2180" actId="478"/>
          <ac:spMkLst>
            <pc:docMk/>
            <pc:sldMk cId="4028717167" sldId="2227"/>
            <ac:spMk id="7" creationId="{43DF3097-0ECE-7526-6BDE-37D976F57C93}"/>
          </ac:spMkLst>
        </pc:spChg>
        <pc:spChg chg="mod">
          <ac:chgData name="Aurelien Domont" userId="6da7715ce44349b3" providerId="LiveId" clId="{64264FC0-BB74-49B6-8733-6867235AAE8E}" dt="2023-05-09T05:21:13.037" v="2102" actId="20577"/>
          <ac:spMkLst>
            <pc:docMk/>
            <pc:sldMk cId="4028717167" sldId="2227"/>
            <ac:spMk id="16" creationId="{6C2BB713-9637-4B9B-938F-E9768876782A}"/>
          </ac:spMkLst>
        </pc:spChg>
        <pc:picChg chg="add del mod">
          <ac:chgData name="Aurelien Domont" userId="6da7715ce44349b3" providerId="LiveId" clId="{64264FC0-BB74-49B6-8733-6867235AAE8E}" dt="2023-05-09T04:46:11.902" v="1025" actId="478"/>
          <ac:picMkLst>
            <pc:docMk/>
            <pc:sldMk cId="4028717167" sldId="2227"/>
            <ac:picMk id="4" creationId="{12590778-45F2-A1A6-F5D8-FDB264403659}"/>
          </ac:picMkLst>
        </pc:picChg>
        <pc:picChg chg="add del mod ord">
          <ac:chgData name="Aurelien Domont" userId="6da7715ce44349b3" providerId="LiveId" clId="{64264FC0-BB74-49B6-8733-6867235AAE8E}" dt="2023-05-09T05:25:46.667" v="2176" actId="478"/>
          <ac:picMkLst>
            <pc:docMk/>
            <pc:sldMk cId="4028717167" sldId="2227"/>
            <ac:picMk id="4" creationId="{B381B75B-1E36-3C3F-62B5-61287EDD2C9F}"/>
          </ac:picMkLst>
        </pc:picChg>
        <pc:picChg chg="add mod ord">
          <ac:chgData name="Aurelien Domont" userId="6da7715ce44349b3" providerId="LiveId" clId="{64264FC0-BB74-49B6-8733-6867235AAE8E}" dt="2023-05-09T05:26:04.284" v="2187" actId="1036"/>
          <ac:picMkLst>
            <pc:docMk/>
            <pc:sldMk cId="4028717167" sldId="2227"/>
            <ac:picMk id="5" creationId="{FC9D7FA9-15DB-20B8-7897-75FCD802AD32}"/>
          </ac:picMkLst>
        </pc:picChg>
        <pc:picChg chg="add del mod">
          <ac:chgData name="Aurelien Domont" userId="6da7715ce44349b3" providerId="LiveId" clId="{64264FC0-BB74-49B6-8733-6867235AAE8E}" dt="2023-05-09T05:21:28.885" v="2105" actId="478"/>
          <ac:picMkLst>
            <pc:docMk/>
            <pc:sldMk cId="4028717167" sldId="2227"/>
            <ac:picMk id="6" creationId="{0DDC87B8-7EBE-A399-D19D-06D0D8FAD4C2}"/>
          </ac:picMkLst>
        </pc:picChg>
      </pc:sldChg>
      <pc:sldChg chg="addSp modSp add mod ord">
        <pc:chgData name="Aurelien Domont" userId="6da7715ce44349b3" providerId="LiveId" clId="{64264FC0-BB74-49B6-8733-6867235AAE8E}" dt="2023-05-09T04:44:13.724" v="946" actId="20577"/>
        <pc:sldMkLst>
          <pc:docMk/>
          <pc:sldMk cId="862561723" sldId="2228"/>
        </pc:sldMkLst>
        <pc:spChg chg="mod">
          <ac:chgData name="Aurelien Domont" userId="6da7715ce44349b3" providerId="LiveId" clId="{64264FC0-BB74-49B6-8733-6867235AAE8E}" dt="2023-05-09T04:44:13.724" v="946" actId="20577"/>
          <ac:spMkLst>
            <pc:docMk/>
            <pc:sldMk cId="862561723" sldId="2228"/>
            <ac:spMk id="16" creationId="{6C2BB713-9637-4B9B-938F-E9768876782A}"/>
          </ac:spMkLst>
        </pc:spChg>
        <pc:picChg chg="add mod">
          <ac:chgData name="Aurelien Domont" userId="6da7715ce44349b3" providerId="LiveId" clId="{64264FC0-BB74-49B6-8733-6867235AAE8E}" dt="2023-05-09T04:42:15.391" v="858" actId="1076"/>
          <ac:picMkLst>
            <pc:docMk/>
            <pc:sldMk cId="862561723" sldId="2228"/>
            <ac:picMk id="4" creationId="{6842FF19-5B52-1B36-FDA8-C08F8DBA5634}"/>
          </ac:picMkLst>
        </pc:picChg>
      </pc:sldChg>
      <pc:sldChg chg="addSp modSp add mod">
        <pc:chgData name="Aurelien Domont" userId="6da7715ce44349b3" providerId="LiveId" clId="{64264FC0-BB74-49B6-8733-6867235AAE8E}" dt="2023-05-09T05:48:41.717" v="2220" actId="20577"/>
        <pc:sldMkLst>
          <pc:docMk/>
          <pc:sldMk cId="2249349712" sldId="2229"/>
        </pc:sldMkLst>
        <pc:spChg chg="add mod">
          <ac:chgData name="Aurelien Domont" userId="6da7715ce44349b3" providerId="LiveId" clId="{64264FC0-BB74-49B6-8733-6867235AAE8E}" dt="2023-05-09T04:52:17.162" v="1454" actId="14100"/>
          <ac:spMkLst>
            <pc:docMk/>
            <pc:sldMk cId="2249349712" sldId="2229"/>
            <ac:spMk id="4" creationId="{519A2146-5162-9A8D-F7C4-396696A0EFF9}"/>
          </ac:spMkLst>
        </pc:spChg>
        <pc:spChg chg="mod">
          <ac:chgData name="Aurelien Domont" userId="6da7715ce44349b3" providerId="LiveId" clId="{64264FC0-BB74-49B6-8733-6867235AAE8E}" dt="2023-05-09T05:48:41.717" v="2220" actId="20577"/>
          <ac:spMkLst>
            <pc:docMk/>
            <pc:sldMk cId="2249349712" sldId="2229"/>
            <ac:spMk id="16" creationId="{6C2BB713-9637-4B9B-938F-E9768876782A}"/>
          </ac:spMkLst>
        </pc:spChg>
        <pc:picChg chg="add mod">
          <ac:chgData name="Aurelien Domont" userId="6da7715ce44349b3" providerId="LiveId" clId="{64264FC0-BB74-49B6-8733-6867235AAE8E}" dt="2023-05-09T04:49:40.121" v="1221"/>
          <ac:picMkLst>
            <pc:docMk/>
            <pc:sldMk cId="2249349712" sldId="2229"/>
            <ac:picMk id="2" creationId="{01C3B2FB-664D-5B36-E521-8740C211350D}"/>
          </ac:picMkLst>
        </pc:picChg>
      </pc:sldChg>
      <pc:sldChg chg="delSp modSp add mod">
        <pc:chgData name="Aurelien Domont" userId="6da7715ce44349b3" providerId="LiveId" clId="{64264FC0-BB74-49B6-8733-6867235AAE8E}" dt="2023-05-09T04:41:12.457" v="853" actId="14100"/>
        <pc:sldMkLst>
          <pc:docMk/>
          <pc:sldMk cId="3194430295" sldId="2230"/>
        </pc:sldMkLst>
        <pc:spChg chg="del">
          <ac:chgData name="Aurelien Domont" userId="6da7715ce44349b3" providerId="LiveId" clId="{64264FC0-BB74-49B6-8733-6867235AAE8E}" dt="2023-05-09T04:41:05.852" v="817" actId="478"/>
          <ac:spMkLst>
            <pc:docMk/>
            <pc:sldMk cId="3194430295" sldId="2230"/>
            <ac:spMk id="6" creationId="{18BBCB72-951F-44C6-F496-A3C7690858B6}"/>
          </ac:spMkLst>
        </pc:spChg>
        <pc:spChg chg="mod">
          <ac:chgData name="Aurelien Domont" userId="6da7715ce44349b3" providerId="LiveId" clId="{64264FC0-BB74-49B6-8733-6867235AAE8E}" dt="2023-05-09T04:41:12.457" v="853" actId="14100"/>
          <ac:spMkLst>
            <pc:docMk/>
            <pc:sldMk cId="3194430295" sldId="2230"/>
            <ac:spMk id="9" creationId="{D69E1472-A475-EFAD-FE37-720238EA6568}"/>
          </ac:spMkLst>
        </pc:spChg>
        <pc:spChg chg="mod">
          <ac:chgData name="Aurelien Domont" userId="6da7715ce44349b3" providerId="LiveId" clId="{64264FC0-BB74-49B6-8733-6867235AAE8E}" dt="2023-05-09T04:40:45.706" v="816" actId="20577"/>
          <ac:spMkLst>
            <pc:docMk/>
            <pc:sldMk cId="3194430295" sldId="2230"/>
            <ac:spMk id="16" creationId="{6C2BB713-9637-4B9B-938F-E9768876782A}"/>
          </ac:spMkLst>
        </pc:spChg>
      </pc:sldChg>
      <pc:sldChg chg="addSp delSp modSp add mod">
        <pc:chgData name="Aurelien Domont" userId="6da7715ce44349b3" providerId="LiveId" clId="{64264FC0-BB74-49B6-8733-6867235AAE8E}" dt="2023-05-09T05:48:27.573" v="2213" actId="14100"/>
        <pc:sldMkLst>
          <pc:docMk/>
          <pc:sldMk cId="4279089434" sldId="2231"/>
        </pc:sldMkLst>
        <pc:spChg chg="add mod">
          <ac:chgData name="Aurelien Domont" userId="6da7715ce44349b3" providerId="LiveId" clId="{64264FC0-BB74-49B6-8733-6867235AAE8E}" dt="2023-05-09T05:48:27.573" v="2213" actId="14100"/>
          <ac:spMkLst>
            <pc:docMk/>
            <pc:sldMk cId="4279089434" sldId="2231"/>
            <ac:spMk id="7" creationId="{020D60C7-70D3-99E2-8F24-4B38A7C0AFAB}"/>
          </ac:spMkLst>
        </pc:spChg>
        <pc:spChg chg="mod">
          <ac:chgData name="Aurelien Domont" userId="6da7715ce44349b3" providerId="LiveId" clId="{64264FC0-BB74-49B6-8733-6867235AAE8E}" dt="2023-05-09T05:43:07.911" v="2206" actId="20577"/>
          <ac:spMkLst>
            <pc:docMk/>
            <pc:sldMk cId="4279089434" sldId="2231"/>
            <ac:spMk id="16" creationId="{6C2BB713-9637-4B9B-938F-E9768876782A}"/>
          </ac:spMkLst>
        </pc:spChg>
        <pc:picChg chg="add del">
          <ac:chgData name="Aurelien Domont" userId="6da7715ce44349b3" providerId="LiveId" clId="{64264FC0-BB74-49B6-8733-6867235AAE8E}" dt="2023-05-09T04:48:29.861" v="1157" actId="478"/>
          <ac:picMkLst>
            <pc:docMk/>
            <pc:sldMk cId="4279089434" sldId="2231"/>
            <ac:picMk id="4" creationId="{95680C91-9F06-E637-793D-412CBDAA6D47}"/>
          </ac:picMkLst>
        </pc:picChg>
        <pc:picChg chg="add mod ord">
          <ac:chgData name="Aurelien Domont" userId="6da7715ce44349b3" providerId="LiveId" clId="{64264FC0-BB74-49B6-8733-6867235AAE8E}" dt="2023-05-09T05:48:25.168" v="2212" actId="1076"/>
          <ac:picMkLst>
            <pc:docMk/>
            <pc:sldMk cId="4279089434" sldId="2231"/>
            <ac:picMk id="4" creationId="{A4D6927E-9EBC-6962-F4BD-39117389B299}"/>
          </ac:picMkLst>
        </pc:picChg>
        <pc:picChg chg="add del mod">
          <ac:chgData name="Aurelien Domont" userId="6da7715ce44349b3" providerId="LiveId" clId="{64264FC0-BB74-49B6-8733-6867235AAE8E}" dt="2023-05-09T05:47:55.328" v="2207" actId="478"/>
          <ac:picMkLst>
            <pc:docMk/>
            <pc:sldMk cId="4279089434" sldId="2231"/>
            <ac:picMk id="6" creationId="{43388CF3-A540-444A-1D97-B9DCDD8A77BD}"/>
          </ac:picMkLst>
        </pc:picChg>
      </pc:sldChg>
      <pc:sldChg chg="addSp delSp modSp add mod">
        <pc:chgData name="Aurelien Domont" userId="6da7715ce44349b3" providerId="LiveId" clId="{64264FC0-BB74-49B6-8733-6867235AAE8E}" dt="2023-05-09T06:36:04.060" v="2539" actId="20577"/>
        <pc:sldMkLst>
          <pc:docMk/>
          <pc:sldMk cId="1275160695" sldId="2232"/>
        </pc:sldMkLst>
        <pc:spChg chg="del">
          <ac:chgData name="Aurelien Domont" userId="6da7715ce44349b3" providerId="LiveId" clId="{64264FC0-BB74-49B6-8733-6867235AAE8E}" dt="2023-05-09T06:30:19.010" v="2238" actId="478"/>
          <ac:spMkLst>
            <pc:docMk/>
            <pc:sldMk cId="1275160695" sldId="2232"/>
            <ac:spMk id="3" creationId="{354CC573-61B1-49E0-840D-529396975FB2}"/>
          </ac:spMkLst>
        </pc:spChg>
        <pc:spChg chg="del">
          <ac:chgData name="Aurelien Domont" userId="6da7715ce44349b3" providerId="LiveId" clId="{64264FC0-BB74-49B6-8733-6867235AAE8E}" dt="2023-05-09T06:30:19.010" v="2238" actId="478"/>
          <ac:spMkLst>
            <pc:docMk/>
            <pc:sldMk cId="1275160695" sldId="2232"/>
            <ac:spMk id="4" creationId="{614E6A89-00E5-7B15-129C-7E2EAAADB1E4}"/>
          </ac:spMkLst>
        </pc:spChg>
        <pc:spChg chg="del">
          <ac:chgData name="Aurelien Domont" userId="6da7715ce44349b3" providerId="LiveId" clId="{64264FC0-BB74-49B6-8733-6867235AAE8E}" dt="2023-05-09T06:30:19.010" v="2238" actId="478"/>
          <ac:spMkLst>
            <pc:docMk/>
            <pc:sldMk cId="1275160695" sldId="2232"/>
            <ac:spMk id="5" creationId="{86F2F7A6-095F-16AE-6DDF-964157B2D575}"/>
          </ac:spMkLst>
        </pc:spChg>
        <pc:spChg chg="del">
          <ac:chgData name="Aurelien Domont" userId="6da7715ce44349b3" providerId="LiveId" clId="{64264FC0-BB74-49B6-8733-6867235AAE8E}" dt="2023-05-09T06:30:19.010" v="2238" actId="478"/>
          <ac:spMkLst>
            <pc:docMk/>
            <pc:sldMk cId="1275160695" sldId="2232"/>
            <ac:spMk id="6" creationId="{FC3BEF05-2ED9-FFE6-6CB1-3BA90F0E5EE3}"/>
          </ac:spMkLst>
        </pc:spChg>
        <pc:spChg chg="del">
          <ac:chgData name="Aurelien Domont" userId="6da7715ce44349b3" providerId="LiveId" clId="{64264FC0-BB74-49B6-8733-6867235AAE8E}" dt="2023-05-09T06:30:19.010" v="2238" actId="478"/>
          <ac:spMkLst>
            <pc:docMk/>
            <pc:sldMk cId="1275160695" sldId="2232"/>
            <ac:spMk id="7" creationId="{F9A77C15-F6D1-D1B7-BC9D-ADA12D590547}"/>
          </ac:spMkLst>
        </pc:spChg>
        <pc:spChg chg="del">
          <ac:chgData name="Aurelien Domont" userId="6da7715ce44349b3" providerId="LiveId" clId="{64264FC0-BB74-49B6-8733-6867235AAE8E}" dt="2023-05-09T06:30:19.010" v="2238" actId="478"/>
          <ac:spMkLst>
            <pc:docMk/>
            <pc:sldMk cId="1275160695" sldId="2232"/>
            <ac:spMk id="8" creationId="{0BEB1C21-2F5F-D52C-5F6E-6479FC2DB7AE}"/>
          </ac:spMkLst>
        </pc:spChg>
        <pc:spChg chg="del">
          <ac:chgData name="Aurelien Domont" userId="6da7715ce44349b3" providerId="LiveId" clId="{64264FC0-BB74-49B6-8733-6867235AAE8E}" dt="2023-05-09T06:30:21.366" v="2239" actId="478"/>
          <ac:spMkLst>
            <pc:docMk/>
            <pc:sldMk cId="1275160695" sldId="2232"/>
            <ac:spMk id="9" creationId="{23F0D61C-B96F-3CCB-B03B-CE5B19D1F329}"/>
          </ac:spMkLst>
        </pc:spChg>
        <pc:spChg chg="add mod">
          <ac:chgData name="Aurelien Domont" userId="6da7715ce44349b3" providerId="LiveId" clId="{64264FC0-BB74-49B6-8733-6867235AAE8E}" dt="2023-05-09T06:35:50.116" v="2515" actId="1036"/>
          <ac:spMkLst>
            <pc:docMk/>
            <pc:sldMk cId="1275160695" sldId="2232"/>
            <ac:spMk id="10" creationId="{28652B44-07D8-0AA1-D8FC-5FD593D9951A}"/>
          </ac:spMkLst>
        </pc:spChg>
        <pc:spChg chg="add mod">
          <ac:chgData name="Aurelien Domont" userId="6da7715ce44349b3" providerId="LiveId" clId="{64264FC0-BB74-49B6-8733-6867235AAE8E}" dt="2023-05-09T06:35:50.116" v="2515" actId="1036"/>
          <ac:spMkLst>
            <pc:docMk/>
            <pc:sldMk cId="1275160695" sldId="2232"/>
            <ac:spMk id="11" creationId="{ADFB5905-20D0-D1B5-09DB-E385E1AAE743}"/>
          </ac:spMkLst>
        </pc:spChg>
        <pc:spChg chg="add mod">
          <ac:chgData name="Aurelien Domont" userId="6da7715ce44349b3" providerId="LiveId" clId="{64264FC0-BB74-49B6-8733-6867235AAE8E}" dt="2023-05-09T06:35:50.116" v="2515" actId="1036"/>
          <ac:spMkLst>
            <pc:docMk/>
            <pc:sldMk cId="1275160695" sldId="2232"/>
            <ac:spMk id="12" creationId="{103AA7B5-55B0-67F8-EE81-07FB3F34D963}"/>
          </ac:spMkLst>
        </pc:spChg>
        <pc:spChg chg="add mod">
          <ac:chgData name="Aurelien Domont" userId="6da7715ce44349b3" providerId="LiveId" clId="{64264FC0-BB74-49B6-8733-6867235AAE8E}" dt="2023-05-09T06:35:50.116" v="2515" actId="1036"/>
          <ac:spMkLst>
            <pc:docMk/>
            <pc:sldMk cId="1275160695" sldId="2232"/>
            <ac:spMk id="14" creationId="{548052A8-F473-CD15-916B-8F9102A581D6}"/>
          </ac:spMkLst>
        </pc:spChg>
        <pc:spChg chg="add mod">
          <ac:chgData name="Aurelien Domont" userId="6da7715ce44349b3" providerId="LiveId" clId="{64264FC0-BB74-49B6-8733-6867235AAE8E}" dt="2023-05-09T06:35:50.116" v="2515" actId="1036"/>
          <ac:spMkLst>
            <pc:docMk/>
            <pc:sldMk cId="1275160695" sldId="2232"/>
            <ac:spMk id="15" creationId="{C6B425B9-11BC-CE08-A4AF-3A0A920EBC2F}"/>
          </ac:spMkLst>
        </pc:spChg>
        <pc:spChg chg="mod">
          <ac:chgData name="Aurelien Domont" userId="6da7715ce44349b3" providerId="LiveId" clId="{64264FC0-BB74-49B6-8733-6867235AAE8E}" dt="2023-05-09T06:30:14.436" v="2237" actId="20577"/>
          <ac:spMkLst>
            <pc:docMk/>
            <pc:sldMk cId="1275160695" sldId="2232"/>
            <ac:spMk id="16" creationId="{6C2BB713-9637-4B9B-938F-E9768876782A}"/>
          </ac:spMkLst>
        </pc:spChg>
        <pc:spChg chg="add mod">
          <ac:chgData name="Aurelien Domont" userId="6da7715ce44349b3" providerId="LiveId" clId="{64264FC0-BB74-49B6-8733-6867235AAE8E}" dt="2023-05-09T06:35:50.116" v="2515" actId="1036"/>
          <ac:spMkLst>
            <pc:docMk/>
            <pc:sldMk cId="1275160695" sldId="2232"/>
            <ac:spMk id="17" creationId="{833445F9-A3A5-422A-0AD9-7B993B9FBEAF}"/>
          </ac:spMkLst>
        </pc:spChg>
        <pc:spChg chg="add mod">
          <ac:chgData name="Aurelien Domont" userId="6da7715ce44349b3" providerId="LiveId" clId="{64264FC0-BB74-49B6-8733-6867235AAE8E}" dt="2023-05-09T06:35:50.116" v="2515" actId="1036"/>
          <ac:spMkLst>
            <pc:docMk/>
            <pc:sldMk cId="1275160695" sldId="2232"/>
            <ac:spMk id="18" creationId="{5F1512C6-582F-1470-B1D0-86DF79149A53}"/>
          </ac:spMkLst>
        </pc:spChg>
        <pc:spChg chg="add del mod">
          <ac:chgData name="Aurelien Domont" userId="6da7715ce44349b3" providerId="LiveId" clId="{64264FC0-BB74-49B6-8733-6867235AAE8E}" dt="2023-05-09T06:33:11.568" v="2304" actId="478"/>
          <ac:spMkLst>
            <pc:docMk/>
            <pc:sldMk cId="1275160695" sldId="2232"/>
            <ac:spMk id="19" creationId="{7500953B-5784-4447-4B0C-1DA6B63EF304}"/>
          </ac:spMkLst>
        </pc:spChg>
        <pc:spChg chg="add del mod">
          <ac:chgData name="Aurelien Domont" userId="6da7715ce44349b3" providerId="LiveId" clId="{64264FC0-BB74-49B6-8733-6867235AAE8E}" dt="2023-05-09T06:33:11.568" v="2304" actId="478"/>
          <ac:spMkLst>
            <pc:docMk/>
            <pc:sldMk cId="1275160695" sldId="2232"/>
            <ac:spMk id="20" creationId="{61FB40E6-A40D-F2F4-E3E9-FEC570A92514}"/>
          </ac:spMkLst>
        </pc:spChg>
        <pc:spChg chg="add mod">
          <ac:chgData name="Aurelien Domont" userId="6da7715ce44349b3" providerId="LiveId" clId="{64264FC0-BB74-49B6-8733-6867235AAE8E}" dt="2023-05-09T06:35:50.116" v="2515" actId="1036"/>
          <ac:spMkLst>
            <pc:docMk/>
            <pc:sldMk cId="1275160695" sldId="2232"/>
            <ac:spMk id="21" creationId="{AEFC0335-458E-F23D-D9DD-69870915C97C}"/>
          </ac:spMkLst>
        </pc:spChg>
        <pc:spChg chg="add mod">
          <ac:chgData name="Aurelien Domont" userId="6da7715ce44349b3" providerId="LiveId" clId="{64264FC0-BB74-49B6-8733-6867235AAE8E}" dt="2023-05-09T06:35:50.116" v="2515" actId="1036"/>
          <ac:spMkLst>
            <pc:docMk/>
            <pc:sldMk cId="1275160695" sldId="2232"/>
            <ac:spMk id="22" creationId="{008E31C5-C0F3-F485-F2A2-1D8534FFB588}"/>
          </ac:spMkLst>
        </pc:spChg>
        <pc:spChg chg="add del mod">
          <ac:chgData name="Aurelien Domont" userId="6da7715ce44349b3" providerId="LiveId" clId="{64264FC0-BB74-49B6-8733-6867235AAE8E}" dt="2023-05-09T06:33:23.418" v="2307" actId="478"/>
          <ac:spMkLst>
            <pc:docMk/>
            <pc:sldMk cId="1275160695" sldId="2232"/>
            <ac:spMk id="23" creationId="{7EDA9DCC-19CC-D6A6-2077-D9B0695C83EB}"/>
          </ac:spMkLst>
        </pc:spChg>
        <pc:spChg chg="add mod">
          <ac:chgData name="Aurelien Domont" userId="6da7715ce44349b3" providerId="LiveId" clId="{64264FC0-BB74-49B6-8733-6867235AAE8E}" dt="2023-05-09T06:34:25.961" v="2382" actId="14100"/>
          <ac:spMkLst>
            <pc:docMk/>
            <pc:sldMk cId="1275160695" sldId="2232"/>
            <ac:spMk id="24" creationId="{AF993BF6-3B9F-75B6-63BF-1EB8BD0FEEC3}"/>
          </ac:spMkLst>
        </pc:spChg>
        <pc:spChg chg="add mod">
          <ac:chgData name="Aurelien Domont" userId="6da7715ce44349b3" providerId="LiveId" clId="{64264FC0-BB74-49B6-8733-6867235AAE8E}" dt="2023-05-09T06:34:53.852" v="2423" actId="108"/>
          <ac:spMkLst>
            <pc:docMk/>
            <pc:sldMk cId="1275160695" sldId="2232"/>
            <ac:spMk id="25" creationId="{19354E4B-183A-6F06-87D8-0DFEF630D7A8}"/>
          </ac:spMkLst>
        </pc:spChg>
        <pc:spChg chg="add mod">
          <ac:chgData name="Aurelien Domont" userId="6da7715ce44349b3" providerId="LiveId" clId="{64264FC0-BB74-49B6-8733-6867235AAE8E}" dt="2023-05-09T06:35:57.820" v="2522" actId="20577"/>
          <ac:spMkLst>
            <pc:docMk/>
            <pc:sldMk cId="1275160695" sldId="2232"/>
            <ac:spMk id="26" creationId="{4D1397AC-D55C-AC87-1AA6-F418ABB845B7}"/>
          </ac:spMkLst>
        </pc:spChg>
        <pc:spChg chg="add mod">
          <ac:chgData name="Aurelien Domont" userId="6da7715ce44349b3" providerId="LiveId" clId="{64264FC0-BB74-49B6-8733-6867235AAE8E}" dt="2023-05-09T06:36:04.060" v="2539" actId="20577"/>
          <ac:spMkLst>
            <pc:docMk/>
            <pc:sldMk cId="1275160695" sldId="2232"/>
            <ac:spMk id="27" creationId="{17C050BB-CB15-C60B-F064-FBE207321C92}"/>
          </ac:spMkLst>
        </pc:spChg>
      </pc:sldChg>
      <pc:sldChg chg="add del">
        <pc:chgData name="Aurelien Domont" userId="6da7715ce44349b3" providerId="LiveId" clId="{64264FC0-BB74-49B6-8733-6867235AAE8E}" dt="2023-05-09T04:59:03.031" v="1605" actId="47"/>
        <pc:sldMkLst>
          <pc:docMk/>
          <pc:sldMk cId="1534306553" sldId="2232"/>
        </pc:sldMkLst>
      </pc:sldChg>
      <pc:sldChg chg="modSp add del mod">
        <pc:chgData name="Aurelien Domont" userId="6da7715ce44349b3" providerId="LiveId" clId="{64264FC0-BB74-49B6-8733-6867235AAE8E}" dt="2023-05-09T06:36:13.476" v="2540" actId="47"/>
        <pc:sldMkLst>
          <pc:docMk/>
          <pc:sldMk cId="4103607922" sldId="2233"/>
        </pc:sldMkLst>
        <pc:spChg chg="mod">
          <ac:chgData name="Aurelien Domont" userId="6da7715ce44349b3" providerId="LiveId" clId="{64264FC0-BB74-49B6-8733-6867235AAE8E}" dt="2023-05-09T06:32:45.207" v="2303" actId="20577"/>
          <ac:spMkLst>
            <pc:docMk/>
            <pc:sldMk cId="4103607922" sldId="2233"/>
            <ac:spMk id="16" creationId="{6C2BB713-9637-4B9B-938F-E9768876782A}"/>
          </ac:spMkLst>
        </pc:spChg>
      </pc:sldChg>
    </pc:docChg>
  </pc:docChgLst>
  <pc:docChgLst>
    <pc:chgData name="Aurelien Domont" userId="6da7715ce44349b3" providerId="LiveId" clId="{7AC1B791-F794-4DBF-AA31-1AC2AF41FF55}"/>
    <pc:docChg chg="addSld delSld modSld">
      <pc:chgData name="Aurelien Domont" userId="6da7715ce44349b3" providerId="LiveId" clId="{7AC1B791-F794-4DBF-AA31-1AC2AF41FF55}" dt="2023-02-02T02:10:23.619" v="2" actId="47"/>
      <pc:docMkLst>
        <pc:docMk/>
      </pc:docMkLst>
      <pc:sldChg chg="add">
        <pc:chgData name="Aurelien Domont" userId="6da7715ce44349b3" providerId="LiveId" clId="{7AC1B791-F794-4DBF-AA31-1AC2AF41FF55}" dt="2023-02-02T02:10:22.384" v="1"/>
        <pc:sldMkLst>
          <pc:docMk/>
          <pc:sldMk cId="1754585881" sldId="1598"/>
        </pc:sldMkLst>
      </pc:sldChg>
      <pc:sldChg chg="del">
        <pc:chgData name="Aurelien Domont" userId="6da7715ce44349b3" providerId="LiveId" clId="{7AC1B791-F794-4DBF-AA31-1AC2AF41FF55}" dt="2021-09-02T03:57:21.834" v="0" actId="47"/>
        <pc:sldMkLst>
          <pc:docMk/>
          <pc:sldMk cId="1877474728" sldId="2147"/>
        </pc:sldMkLst>
      </pc:sldChg>
      <pc:sldChg chg="del">
        <pc:chgData name="Aurelien Domont" userId="6da7715ce44349b3" providerId="LiveId" clId="{7AC1B791-F794-4DBF-AA31-1AC2AF41FF55}" dt="2021-09-02T03:57:21.834" v="0" actId="47"/>
        <pc:sldMkLst>
          <pc:docMk/>
          <pc:sldMk cId="2746892466" sldId="2148"/>
        </pc:sldMkLst>
      </pc:sldChg>
      <pc:sldChg chg="del">
        <pc:chgData name="Aurelien Domont" userId="6da7715ce44349b3" providerId="LiveId" clId="{7AC1B791-F794-4DBF-AA31-1AC2AF41FF55}" dt="2021-09-02T03:57:21.834" v="0" actId="47"/>
        <pc:sldMkLst>
          <pc:docMk/>
          <pc:sldMk cId="596178860" sldId="2149"/>
        </pc:sldMkLst>
      </pc:sldChg>
      <pc:sldChg chg="del">
        <pc:chgData name="Aurelien Domont" userId="6da7715ce44349b3" providerId="LiveId" clId="{7AC1B791-F794-4DBF-AA31-1AC2AF41FF55}" dt="2023-02-02T02:10:23.619" v="2" actId="47"/>
        <pc:sldMkLst>
          <pc:docMk/>
          <pc:sldMk cId="3788311075" sldId="2150"/>
        </pc:sldMkLst>
      </pc:sldChg>
      <pc:sldChg chg="add">
        <pc:chgData name="Aurelien Domont" userId="6da7715ce44349b3" providerId="LiveId" clId="{7AC1B791-F794-4DBF-AA31-1AC2AF41FF55}" dt="2023-02-02T02:10:22.384" v="1"/>
        <pc:sldMkLst>
          <pc:docMk/>
          <pc:sldMk cId="1289725493" sldId="2213"/>
        </pc:sldMkLst>
      </pc:sldChg>
    </pc:docChg>
  </pc:docChgLst>
  <pc:docChgLst>
    <pc:chgData name="Aurelien Domont" userId="6da7715ce44349b3" providerId="LiveId" clId="{4C33E7F4-0EB9-4D41-8688-1AD4B430A8CA}"/>
    <pc:docChg chg="custSel modSld">
      <pc:chgData name="Aurelien Domont" userId="6da7715ce44349b3" providerId="LiveId" clId="{4C33E7F4-0EB9-4D41-8688-1AD4B430A8CA}" dt="2020-11-24T04:57:38.828" v="20" actId="1036"/>
      <pc:docMkLst>
        <pc:docMk/>
      </pc:docMkLst>
      <pc:sldChg chg="modSp mod">
        <pc:chgData name="Aurelien Domont" userId="6da7715ce44349b3" providerId="LiveId" clId="{4C33E7F4-0EB9-4D41-8688-1AD4B430A8CA}" dt="2020-11-24T04:57:38.828" v="20" actId="1036"/>
        <pc:sldMkLst>
          <pc:docMk/>
          <pc:sldMk cId="2841604578" sldId="1762"/>
        </pc:sldMkLst>
        <pc:spChg chg="mod">
          <ac:chgData name="Aurelien Domont" userId="6da7715ce44349b3" providerId="LiveId" clId="{4C33E7F4-0EB9-4D41-8688-1AD4B430A8CA}" dt="2020-11-24T04:57:21.383" v="0" actId="33524"/>
          <ac:spMkLst>
            <pc:docMk/>
            <pc:sldMk cId="2841604578" sldId="1762"/>
            <ac:spMk id="26" creationId="{FE1E356E-2FF5-4AF0-B923-0CAEA682670F}"/>
          </ac:spMkLst>
        </pc:spChg>
        <pc:picChg chg="mod">
          <ac:chgData name="Aurelien Domont" userId="6da7715ce44349b3" providerId="LiveId" clId="{4C33E7F4-0EB9-4D41-8688-1AD4B430A8CA}" dt="2020-11-24T04:57:38.828" v="20" actId="1036"/>
          <ac:picMkLst>
            <pc:docMk/>
            <pc:sldMk cId="2841604578" sldId="1762"/>
            <ac:picMk id="15" creationId="{6D487B02-756B-43A6-ADE6-E2CBC8B4E70C}"/>
          </ac:picMkLst>
        </pc:picChg>
      </pc:sldChg>
    </pc:docChg>
  </pc:docChgLst>
  <pc:docChgLst>
    <pc:chgData name="Aurelien Domont" userId="6da7715ce44349b3" providerId="LiveId" clId="{1A65848B-9F1B-4AD0-AD98-692A2614DF16}"/>
    <pc:docChg chg="undo custSel addSld delSld modSld sldOrd modMainMaster">
      <pc:chgData name="Aurelien Domont" userId="6da7715ce44349b3" providerId="LiveId" clId="{1A65848B-9F1B-4AD0-AD98-692A2614DF16}" dt="2023-05-08T05:45:09.048" v="3442" actId="478"/>
      <pc:docMkLst>
        <pc:docMk/>
      </pc:docMkLst>
      <pc:sldChg chg="addSp delSp modSp mod">
        <pc:chgData name="Aurelien Domont" userId="6da7715ce44349b3" providerId="LiveId" clId="{1A65848B-9F1B-4AD0-AD98-692A2614DF16}" dt="2023-05-05T05:45:54.050" v="10" actId="404"/>
        <pc:sldMkLst>
          <pc:docMk/>
          <pc:sldMk cId="3131901387" sldId="256"/>
        </pc:sldMkLst>
        <pc:spChg chg="mod">
          <ac:chgData name="Aurelien Domont" userId="6da7715ce44349b3" providerId="LiveId" clId="{1A65848B-9F1B-4AD0-AD98-692A2614DF16}" dt="2023-05-05T05:45:54.050" v="10" actId="404"/>
          <ac:spMkLst>
            <pc:docMk/>
            <pc:sldMk cId="3131901387" sldId="256"/>
            <ac:spMk id="2" creationId="{5261080C-C60C-4746-B6B1-A9A4FFA86785}"/>
          </ac:spMkLst>
        </pc:spChg>
        <pc:spChg chg="del">
          <ac:chgData name="Aurelien Domont" userId="6da7715ce44349b3" providerId="LiveId" clId="{1A65848B-9F1B-4AD0-AD98-692A2614DF16}" dt="2023-05-05T05:42:02.971" v="0" actId="478"/>
          <ac:spMkLst>
            <pc:docMk/>
            <pc:sldMk cId="3131901387" sldId="256"/>
            <ac:spMk id="3" creationId="{D781CD62-85AB-400E-A66C-9594AAD807B4}"/>
          </ac:spMkLst>
        </pc:spChg>
        <pc:spChg chg="add del mod">
          <ac:chgData name="Aurelien Domont" userId="6da7715ce44349b3" providerId="LiveId" clId="{1A65848B-9F1B-4AD0-AD98-692A2614DF16}" dt="2023-05-05T05:42:05.383" v="1" actId="478"/>
          <ac:spMkLst>
            <pc:docMk/>
            <pc:sldMk cId="3131901387" sldId="256"/>
            <ac:spMk id="7" creationId="{5779C59B-6E34-2533-0C19-3002D0610169}"/>
          </ac:spMkLst>
        </pc:spChg>
        <pc:spChg chg="add mod">
          <ac:chgData name="Aurelien Domont" userId="6da7715ce44349b3" providerId="LiveId" clId="{1A65848B-9F1B-4AD0-AD98-692A2614DF16}" dt="2023-05-05T05:42:28.836" v="4" actId="1076"/>
          <ac:spMkLst>
            <pc:docMk/>
            <pc:sldMk cId="3131901387" sldId="256"/>
            <ac:spMk id="13" creationId="{42CB704D-C26F-E100-A0A1-C3C25AB261D6}"/>
          </ac:spMkLst>
        </pc:spChg>
      </pc:sldChg>
      <pc:sldChg chg="modSp">
        <pc:chgData name="Aurelien Domont" userId="6da7715ce44349b3" providerId="LiveId" clId="{1A65848B-9F1B-4AD0-AD98-692A2614DF16}" dt="2023-05-05T06:37:03.994" v="2731"/>
        <pc:sldMkLst>
          <pc:docMk/>
          <pc:sldMk cId="1754585881" sldId="1598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1754585881" sldId="1598"/>
            <ac:spMk id="6" creationId="{DE0F4260-85F5-47B2-8F90-716F6604029A}"/>
          </ac:spMkLst>
        </pc:spChg>
      </pc:sldChg>
      <pc:sldChg chg="addSp delSp modSp mod">
        <pc:chgData name="Aurelien Domont" userId="6da7715ce44349b3" providerId="LiveId" clId="{1A65848B-9F1B-4AD0-AD98-692A2614DF16}" dt="2023-05-05T06:37:03.994" v="2731"/>
        <pc:sldMkLst>
          <pc:docMk/>
          <pc:sldMk cId="2841604578" sldId="1762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841604578" sldId="1762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841604578" sldId="1762"/>
            <ac:spMk id="16" creationId="{6C2BB713-9637-4B9B-938F-E9768876782A}"/>
          </ac:spMkLst>
        </pc:spChg>
        <pc:spChg chg="del mod">
          <ac:chgData name="Aurelien Domont" userId="6da7715ce44349b3" providerId="LiveId" clId="{1A65848B-9F1B-4AD0-AD98-692A2614DF16}" dt="2023-05-05T05:47:56.570" v="96" actId="478"/>
          <ac:spMkLst>
            <pc:docMk/>
            <pc:sldMk cId="2841604578" sldId="1762"/>
            <ac:spMk id="17" creationId="{0E7B5BF7-52DC-45B6-AC66-4F4D6B7CCFAE}"/>
          </ac:spMkLst>
        </pc:spChg>
        <pc:spChg chg="del">
          <ac:chgData name="Aurelien Domont" userId="6da7715ce44349b3" providerId="LiveId" clId="{1A65848B-9F1B-4AD0-AD98-692A2614DF16}" dt="2023-05-05T05:47:11.986" v="90" actId="478"/>
          <ac:spMkLst>
            <pc:docMk/>
            <pc:sldMk cId="2841604578" sldId="1762"/>
            <ac:spMk id="18" creationId="{18DE14A6-A8B0-4F3D-A6F1-483F907E1C6C}"/>
          </ac:spMkLst>
        </pc:spChg>
        <pc:spChg chg="del">
          <ac:chgData name="Aurelien Domont" userId="6da7715ce44349b3" providerId="LiveId" clId="{1A65848B-9F1B-4AD0-AD98-692A2614DF16}" dt="2023-05-05T05:47:08.165" v="89" actId="478"/>
          <ac:spMkLst>
            <pc:docMk/>
            <pc:sldMk cId="2841604578" sldId="1762"/>
            <ac:spMk id="26" creationId="{FE1E356E-2FF5-4AF0-B923-0CAEA682670F}"/>
          </ac:spMkLst>
        </pc:spChg>
        <pc:picChg chg="add mod">
          <ac:chgData name="Aurelien Domont" userId="6da7715ce44349b3" providerId="LiveId" clId="{1A65848B-9F1B-4AD0-AD98-692A2614DF16}" dt="2023-05-05T05:49:29.705" v="113" actId="1076"/>
          <ac:picMkLst>
            <pc:docMk/>
            <pc:sldMk cId="2841604578" sldId="1762"/>
            <ac:picMk id="4" creationId="{E27D2780-3C7A-07D0-7766-0AACD5BFA38B}"/>
          </ac:picMkLst>
        </pc:picChg>
        <pc:picChg chg="del">
          <ac:chgData name="Aurelien Domont" userId="6da7715ce44349b3" providerId="LiveId" clId="{1A65848B-9F1B-4AD0-AD98-692A2614DF16}" dt="2023-05-05T05:46:55.901" v="85" actId="478"/>
          <ac:picMkLst>
            <pc:docMk/>
            <pc:sldMk cId="2841604578" sldId="1762"/>
            <ac:picMk id="15" creationId="{6D487B02-756B-43A6-ADE6-E2CBC8B4E70C}"/>
          </ac:picMkLst>
        </pc:picChg>
        <pc:picChg chg="del">
          <ac:chgData name="Aurelien Domont" userId="6da7715ce44349b3" providerId="LiveId" clId="{1A65848B-9F1B-4AD0-AD98-692A2614DF16}" dt="2023-05-05T05:46:55.901" v="85" actId="478"/>
          <ac:picMkLst>
            <pc:docMk/>
            <pc:sldMk cId="2841604578" sldId="1762"/>
            <ac:picMk id="20" creationId="{73446ADD-6F1B-41D9-B3AF-F15E76B2F733}"/>
          </ac:picMkLst>
        </pc:picChg>
      </pc:sldChg>
      <pc:sldChg chg="modSp del">
        <pc:chgData name="Aurelien Domont" userId="6da7715ce44349b3" providerId="LiveId" clId="{1A65848B-9F1B-4AD0-AD98-692A2614DF16}" dt="2023-05-05T06:50:31.237" v="3205" actId="47"/>
        <pc:sldMkLst>
          <pc:docMk/>
          <pc:sldMk cId="1762358644" sldId="2135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1762358644" sldId="2135"/>
            <ac:spMk id="2" creationId="{7837E1C4-A2D7-4558-A504-36AC8920218D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1762358644" sldId="2135"/>
            <ac:spMk id="16" creationId="{6C2BB713-9637-4B9B-938F-E9768876782A}"/>
          </ac:spMkLst>
        </pc:spChg>
      </pc:sldChg>
      <pc:sldChg chg="modSp del">
        <pc:chgData name="Aurelien Domont" userId="6da7715ce44349b3" providerId="LiveId" clId="{1A65848B-9F1B-4AD0-AD98-692A2614DF16}" dt="2023-05-05T06:50:31.237" v="3205" actId="47"/>
        <pc:sldMkLst>
          <pc:docMk/>
          <pc:sldMk cId="4206465098" sldId="2157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4206465098" sldId="2157"/>
            <ac:spMk id="2" creationId="{7837E1C4-A2D7-4558-A504-36AC8920218D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4206465098" sldId="2157"/>
            <ac:spMk id="16" creationId="{6C2BB713-9637-4B9B-938F-E9768876782A}"/>
          </ac:spMkLst>
        </pc:spChg>
      </pc:sldChg>
      <pc:sldChg chg="modSp del">
        <pc:chgData name="Aurelien Domont" userId="6da7715ce44349b3" providerId="LiveId" clId="{1A65848B-9F1B-4AD0-AD98-692A2614DF16}" dt="2023-05-05T06:38:43.552" v="2740" actId="47"/>
        <pc:sldMkLst>
          <pc:docMk/>
          <pc:sldMk cId="182314126" sldId="2160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182314126" sldId="2160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182314126" sldId="2160"/>
            <ac:spMk id="16" creationId="{6C2BB713-9637-4B9B-938F-E9768876782A}"/>
          </ac:spMkLst>
        </pc:spChg>
      </pc:sldChg>
      <pc:sldChg chg="modSp del">
        <pc:chgData name="Aurelien Domont" userId="6da7715ce44349b3" providerId="LiveId" clId="{1A65848B-9F1B-4AD0-AD98-692A2614DF16}" dt="2023-05-05T06:38:49.004" v="2741" actId="47"/>
        <pc:sldMkLst>
          <pc:docMk/>
          <pc:sldMk cId="825432853" sldId="2161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825432853" sldId="2161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825432853" sldId="2161"/>
            <ac:spMk id="16" creationId="{6C2BB713-9637-4B9B-938F-E9768876782A}"/>
          </ac:spMkLst>
        </pc:spChg>
      </pc:sldChg>
      <pc:sldChg chg="modSp del">
        <pc:chgData name="Aurelien Domont" userId="6da7715ce44349b3" providerId="LiveId" clId="{1A65848B-9F1B-4AD0-AD98-692A2614DF16}" dt="2023-05-05T06:38:57.904" v="2742" actId="47"/>
        <pc:sldMkLst>
          <pc:docMk/>
          <pc:sldMk cId="1447557785" sldId="2162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1447557785" sldId="2162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1447557785" sldId="2162"/>
            <ac:spMk id="16" creationId="{6C2BB713-9637-4B9B-938F-E9768876782A}"/>
          </ac:spMkLst>
        </pc:spChg>
      </pc:sldChg>
      <pc:sldChg chg="modSp del">
        <pc:chgData name="Aurelien Domont" userId="6da7715ce44349b3" providerId="LiveId" clId="{1A65848B-9F1B-4AD0-AD98-692A2614DF16}" dt="2023-05-05T06:39:05.851" v="2743" actId="47"/>
        <pc:sldMkLst>
          <pc:docMk/>
          <pc:sldMk cId="2825418924" sldId="2163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825418924" sldId="2163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825418924" sldId="2163"/>
            <ac:spMk id="16" creationId="{6C2BB713-9637-4B9B-938F-E9768876782A}"/>
          </ac:spMkLst>
        </pc:spChg>
      </pc:sldChg>
      <pc:sldChg chg="modSp del">
        <pc:chgData name="Aurelien Domont" userId="6da7715ce44349b3" providerId="LiveId" clId="{1A65848B-9F1B-4AD0-AD98-692A2614DF16}" dt="2023-05-05T06:39:10.492" v="2744" actId="47"/>
        <pc:sldMkLst>
          <pc:docMk/>
          <pc:sldMk cId="2490974694" sldId="2164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490974694" sldId="2164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490974694" sldId="2164"/>
            <ac:spMk id="16" creationId="{6C2BB713-9637-4B9B-938F-E9768876782A}"/>
          </ac:spMkLst>
        </pc:spChg>
      </pc:sldChg>
      <pc:sldChg chg="modSp del">
        <pc:chgData name="Aurelien Domont" userId="6da7715ce44349b3" providerId="LiveId" clId="{1A65848B-9F1B-4AD0-AD98-692A2614DF16}" dt="2023-05-05T06:39:13.412" v="2745" actId="47"/>
        <pc:sldMkLst>
          <pc:docMk/>
          <pc:sldMk cId="2421207395" sldId="2165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421207395" sldId="2165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421207395" sldId="2165"/>
            <ac:spMk id="16" creationId="{6C2BB713-9637-4B9B-938F-E9768876782A}"/>
          </ac:spMkLst>
        </pc:spChg>
      </pc:sldChg>
      <pc:sldChg chg="modSp del">
        <pc:chgData name="Aurelien Domont" userId="6da7715ce44349b3" providerId="LiveId" clId="{1A65848B-9F1B-4AD0-AD98-692A2614DF16}" dt="2023-05-05T06:39:14.558" v="2746" actId="47"/>
        <pc:sldMkLst>
          <pc:docMk/>
          <pc:sldMk cId="3061179433" sldId="2166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3061179433" sldId="2166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3061179433" sldId="2166"/>
            <ac:spMk id="16" creationId="{6C2BB713-9637-4B9B-938F-E9768876782A}"/>
          </ac:spMkLst>
        </pc:spChg>
      </pc:sldChg>
      <pc:sldChg chg="modSp del">
        <pc:chgData name="Aurelien Domont" userId="6da7715ce44349b3" providerId="LiveId" clId="{1A65848B-9F1B-4AD0-AD98-692A2614DF16}" dt="2023-05-05T06:39:15.735" v="2747" actId="47"/>
        <pc:sldMkLst>
          <pc:docMk/>
          <pc:sldMk cId="403796288" sldId="2167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403796288" sldId="2167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403796288" sldId="2167"/>
            <ac:spMk id="16" creationId="{6C2BB713-9637-4B9B-938F-E9768876782A}"/>
          </ac:spMkLst>
        </pc:spChg>
      </pc:sldChg>
      <pc:sldChg chg="modSp">
        <pc:chgData name="Aurelien Domont" userId="6da7715ce44349b3" providerId="LiveId" clId="{1A65848B-9F1B-4AD0-AD98-692A2614DF16}" dt="2023-05-05T06:37:03.994" v="2731"/>
        <pc:sldMkLst>
          <pc:docMk/>
          <pc:sldMk cId="1289725493" sldId="2213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1289725493" sldId="2213"/>
            <ac:spMk id="8" creationId="{3D029769-9B2F-4A51-8446-2206A9A2EF30}"/>
          </ac:spMkLst>
        </pc:spChg>
      </pc:sldChg>
      <pc:sldChg chg="addSp delSp modSp add mod">
        <pc:chgData name="Aurelien Domont" userId="6da7715ce44349b3" providerId="LiveId" clId="{1A65848B-9F1B-4AD0-AD98-692A2614DF16}" dt="2023-05-05T06:37:03.994" v="2731"/>
        <pc:sldMkLst>
          <pc:docMk/>
          <pc:sldMk cId="3483218684" sldId="2214"/>
        </pc:sldMkLst>
        <pc:spChg chg="add mod">
          <ac:chgData name="Aurelien Domont" userId="6da7715ce44349b3" providerId="LiveId" clId="{1A65848B-9F1B-4AD0-AD98-692A2614DF16}" dt="2023-05-05T05:55:26.064" v="618" actId="693"/>
          <ac:spMkLst>
            <pc:docMk/>
            <pc:sldMk cId="3483218684" sldId="2214"/>
            <ac:spMk id="2" creationId="{7BF7124F-6422-B885-0578-C3A4DE4F0B67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3483218684" sldId="2214"/>
            <ac:spMk id="3" creationId="{CE2529A3-BA97-486F-9E02-8DFAAA7D8D38}"/>
          </ac:spMkLst>
        </pc:spChg>
        <pc:spChg chg="add mod">
          <ac:chgData name="Aurelien Domont" userId="6da7715ce44349b3" providerId="LiveId" clId="{1A65848B-9F1B-4AD0-AD98-692A2614DF16}" dt="2023-05-05T05:54:35.816" v="566" actId="14861"/>
          <ac:spMkLst>
            <pc:docMk/>
            <pc:sldMk cId="3483218684" sldId="2214"/>
            <ac:spMk id="8" creationId="{F94F7269-B65E-8A57-4C49-A2C95AC3D119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3483218684" sldId="2214"/>
            <ac:spMk id="16" creationId="{6C2BB713-9637-4B9B-938F-E9768876782A}"/>
          </ac:spMkLst>
        </pc:spChg>
        <pc:picChg chg="del">
          <ac:chgData name="Aurelien Domont" userId="6da7715ce44349b3" providerId="LiveId" clId="{1A65848B-9F1B-4AD0-AD98-692A2614DF16}" dt="2023-05-05T05:48:07.747" v="102" actId="478"/>
          <ac:picMkLst>
            <pc:docMk/>
            <pc:sldMk cId="3483218684" sldId="2214"/>
            <ac:picMk id="4" creationId="{E27D2780-3C7A-07D0-7766-0AACD5BFA38B}"/>
          </ac:picMkLst>
        </pc:picChg>
        <pc:picChg chg="add del">
          <ac:chgData name="Aurelien Domont" userId="6da7715ce44349b3" providerId="LiveId" clId="{1A65848B-9F1B-4AD0-AD98-692A2614DF16}" dt="2023-05-05T05:49:00.765" v="106" actId="478"/>
          <ac:picMkLst>
            <pc:docMk/>
            <pc:sldMk cId="3483218684" sldId="2214"/>
            <ac:picMk id="5" creationId="{0A556B36-A27E-19E9-98C9-B20FFC754D6D}"/>
          </ac:picMkLst>
        </pc:picChg>
        <pc:picChg chg="add mod">
          <ac:chgData name="Aurelien Domont" userId="6da7715ce44349b3" providerId="LiveId" clId="{1A65848B-9F1B-4AD0-AD98-692A2614DF16}" dt="2023-05-05T05:51:07.433" v="317" actId="1076"/>
          <ac:picMkLst>
            <pc:docMk/>
            <pc:sldMk cId="3483218684" sldId="2214"/>
            <ac:picMk id="7" creationId="{1F9FE409-D216-4728-E758-712122904805}"/>
          </ac:picMkLst>
        </pc:picChg>
      </pc:sldChg>
      <pc:sldChg chg="addSp modSp new del mod">
        <pc:chgData name="Aurelien Domont" userId="6da7715ce44349b3" providerId="LiveId" clId="{1A65848B-9F1B-4AD0-AD98-692A2614DF16}" dt="2023-05-05T06:50:31.237" v="3205" actId="47"/>
        <pc:sldMkLst>
          <pc:docMk/>
          <pc:sldMk cId="2186241859" sldId="2215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186241859" sldId="2215"/>
            <ac:spMk id="2" creationId="{764E2C9C-9A4D-92B4-8744-2E7ECACACA2E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186241859" sldId="2215"/>
            <ac:spMk id="3" creationId="{B3229FF6-BD83-B9F5-69F3-3FAE01250200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186241859" sldId="2215"/>
            <ac:spMk id="4" creationId="{7A575F2F-1958-7ADB-F140-EBA2003A8979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186241859" sldId="2215"/>
            <ac:spMk id="5" creationId="{37207DB3-F22D-AE5B-5BDE-D963344439D9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186241859" sldId="2215"/>
            <ac:spMk id="6" creationId="{FF145DDF-A03C-317E-DFDE-A6E943B9FCE5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186241859" sldId="2215"/>
            <ac:spMk id="7" creationId="{AA5AF83B-D914-E1EE-E060-A61EDFDC198C}"/>
          </ac:spMkLst>
        </pc:spChg>
        <pc:spChg chg="add mod">
          <ac:chgData name="Aurelien Domont" userId="6da7715ce44349b3" providerId="LiveId" clId="{1A65848B-9F1B-4AD0-AD98-692A2614DF16}" dt="2023-05-05T05:53:50.026" v="554" actId="207"/>
          <ac:spMkLst>
            <pc:docMk/>
            <pc:sldMk cId="2186241859" sldId="2215"/>
            <ac:spMk id="8" creationId="{35703D07-4C59-7DBF-FD69-B8A650AEF8FF}"/>
          </ac:spMkLst>
        </pc:spChg>
      </pc:sldChg>
      <pc:sldChg chg="addSp delSp modSp add mod">
        <pc:chgData name="Aurelien Domont" userId="6da7715ce44349b3" providerId="LiveId" clId="{1A65848B-9F1B-4AD0-AD98-692A2614DF16}" dt="2023-05-05T06:42:00.544" v="2776"/>
        <pc:sldMkLst>
          <pc:docMk/>
          <pc:sldMk cId="1958517497" sldId="2216"/>
        </pc:sldMkLst>
        <pc:spChg chg="del">
          <ac:chgData name="Aurelien Domont" userId="6da7715ce44349b3" providerId="LiveId" clId="{1A65848B-9F1B-4AD0-AD98-692A2614DF16}" dt="2023-05-05T05:59:21.445" v="780" actId="21"/>
          <ac:spMkLst>
            <pc:docMk/>
            <pc:sldMk cId="1958517497" sldId="2216"/>
            <ac:spMk id="3" creationId="{CE2529A3-BA97-486F-9E02-8DFAAA7D8D38}"/>
          </ac:spMkLst>
        </pc:spChg>
        <pc:spChg chg="add del mod">
          <ac:chgData name="Aurelien Domont" userId="6da7715ce44349b3" providerId="LiveId" clId="{1A65848B-9F1B-4AD0-AD98-692A2614DF16}" dt="2023-05-05T05:56:37.478" v="683" actId="478"/>
          <ac:spMkLst>
            <pc:docMk/>
            <pc:sldMk cId="1958517497" sldId="2216"/>
            <ac:spMk id="4" creationId="{2C27E2EE-80AE-D977-22F1-346D7BF5BEED}"/>
          </ac:spMkLst>
        </pc:spChg>
        <pc:spChg chg="add del mod">
          <ac:chgData name="Aurelien Domont" userId="6da7715ce44349b3" providerId="LiveId" clId="{1A65848B-9F1B-4AD0-AD98-692A2614DF16}" dt="2023-05-05T05:59:21.445" v="780" actId="21"/>
          <ac:spMkLst>
            <pc:docMk/>
            <pc:sldMk cId="1958517497" sldId="2216"/>
            <ac:spMk id="5" creationId="{F286BFD4-E2BC-A0FB-2FAD-55C5C34E48F9}"/>
          </ac:spMkLst>
        </pc:spChg>
        <pc:spChg chg="del">
          <ac:chgData name="Aurelien Domont" userId="6da7715ce44349b3" providerId="LiveId" clId="{1A65848B-9F1B-4AD0-AD98-692A2614DF16}" dt="2023-05-05T05:54:45.109" v="567" actId="478"/>
          <ac:spMkLst>
            <pc:docMk/>
            <pc:sldMk cId="1958517497" sldId="2216"/>
            <ac:spMk id="8" creationId="{F94F7269-B65E-8A57-4C49-A2C95AC3D119}"/>
          </ac:spMkLst>
        </pc:spChg>
        <pc:spChg chg="add mod">
          <ac:chgData name="Aurelien Domont" userId="6da7715ce44349b3" providerId="LiveId" clId="{1A65848B-9F1B-4AD0-AD98-692A2614DF16}" dt="2023-05-05T05:59:18.148" v="779"/>
          <ac:spMkLst>
            <pc:docMk/>
            <pc:sldMk cId="1958517497" sldId="2216"/>
            <ac:spMk id="11" creationId="{ACE97344-ECA0-A89B-C576-7DC73EA25B5B}"/>
          </ac:spMkLst>
        </pc:spChg>
        <pc:spChg chg="add mod">
          <ac:chgData name="Aurelien Domont" userId="6da7715ce44349b3" providerId="LiveId" clId="{1A65848B-9F1B-4AD0-AD98-692A2614DF16}" dt="2023-05-05T06:42:00.544" v="2776"/>
          <ac:spMkLst>
            <pc:docMk/>
            <pc:sldMk cId="1958517497" sldId="2216"/>
            <ac:spMk id="12" creationId="{2841CC0B-AD2D-A528-432E-F4D6BAA34DFC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1958517497" sldId="2216"/>
            <ac:spMk id="16" creationId="{6C2BB713-9637-4B9B-938F-E9768876782A}"/>
          </ac:spMkLst>
        </pc:spChg>
        <pc:picChg chg="add del mod">
          <ac:chgData name="Aurelien Domont" userId="6da7715ce44349b3" providerId="LiveId" clId="{1A65848B-9F1B-4AD0-AD98-692A2614DF16}" dt="2023-05-05T05:58:11.439" v="762" actId="478"/>
          <ac:picMkLst>
            <pc:docMk/>
            <pc:sldMk cId="1958517497" sldId="2216"/>
            <ac:picMk id="2" creationId="{B55D5E2B-E4A8-B086-2532-18D28B9E4B52}"/>
          </ac:picMkLst>
        </pc:picChg>
        <pc:picChg chg="del">
          <ac:chgData name="Aurelien Domont" userId="6da7715ce44349b3" providerId="LiveId" clId="{1A65848B-9F1B-4AD0-AD98-692A2614DF16}" dt="2023-05-05T05:54:45.109" v="567" actId="478"/>
          <ac:picMkLst>
            <pc:docMk/>
            <pc:sldMk cId="1958517497" sldId="2216"/>
            <ac:picMk id="7" creationId="{1F9FE409-D216-4728-E758-712122904805}"/>
          </ac:picMkLst>
        </pc:picChg>
        <pc:picChg chg="add del mod ord">
          <ac:chgData name="Aurelien Domont" userId="6da7715ce44349b3" providerId="LiveId" clId="{1A65848B-9F1B-4AD0-AD98-692A2614DF16}" dt="2023-05-05T05:59:21.445" v="780" actId="21"/>
          <ac:picMkLst>
            <pc:docMk/>
            <pc:sldMk cId="1958517497" sldId="2216"/>
            <ac:picMk id="9" creationId="{B8191BB0-E3C4-AE5A-355A-58089D60F7B2}"/>
          </ac:picMkLst>
        </pc:picChg>
        <pc:picChg chg="add mod">
          <ac:chgData name="Aurelien Domont" userId="6da7715ce44349b3" providerId="LiveId" clId="{1A65848B-9F1B-4AD0-AD98-692A2614DF16}" dt="2023-05-05T05:59:18.148" v="779"/>
          <ac:picMkLst>
            <pc:docMk/>
            <pc:sldMk cId="1958517497" sldId="2216"/>
            <ac:picMk id="10" creationId="{7007C82F-3F7B-69AB-437E-1F10B8FF99C5}"/>
          </ac:picMkLst>
        </pc:picChg>
      </pc:sldChg>
      <pc:sldChg chg="addSp delSp modSp add mod">
        <pc:chgData name="Aurelien Domont" userId="6da7715ce44349b3" providerId="LiveId" clId="{1A65848B-9F1B-4AD0-AD98-692A2614DF16}" dt="2023-05-05T06:41:50.782" v="2775" actId="478"/>
        <pc:sldMkLst>
          <pc:docMk/>
          <pc:sldMk cId="1567968009" sldId="2217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1567968009" sldId="2217"/>
            <ac:spMk id="3" creationId="{CE2529A3-BA97-486F-9E02-8DFAAA7D8D38}"/>
          </ac:spMkLst>
        </pc:spChg>
        <pc:spChg chg="del mod">
          <ac:chgData name="Aurelien Domont" userId="6da7715ce44349b3" providerId="LiveId" clId="{1A65848B-9F1B-4AD0-AD98-692A2614DF16}" dt="2023-05-05T05:59:24.266" v="781" actId="478"/>
          <ac:spMkLst>
            <pc:docMk/>
            <pc:sldMk cId="1567968009" sldId="2217"/>
            <ac:spMk id="5" creationId="{F286BFD4-E2BC-A0FB-2FAD-55C5C34E48F9}"/>
          </ac:spMkLst>
        </pc:spChg>
        <pc:spChg chg="add del mod">
          <ac:chgData name="Aurelien Domont" userId="6da7715ce44349b3" providerId="LiveId" clId="{1A65848B-9F1B-4AD0-AD98-692A2614DF16}" dt="2023-05-05T06:41:50.782" v="2775" actId="478"/>
          <ac:spMkLst>
            <pc:docMk/>
            <pc:sldMk cId="1567968009" sldId="2217"/>
            <ac:spMk id="6" creationId="{061F3026-0FD7-506E-BDFA-DDE75B3643B5}"/>
          </ac:spMkLst>
        </pc:spChg>
        <pc:spChg chg="add mod">
          <ac:chgData name="Aurelien Domont" userId="6da7715ce44349b3" providerId="LiveId" clId="{1A65848B-9F1B-4AD0-AD98-692A2614DF16}" dt="2023-05-05T05:59:56.153" v="787" actId="14100"/>
          <ac:spMkLst>
            <pc:docMk/>
            <pc:sldMk cId="1567968009" sldId="2217"/>
            <ac:spMk id="7" creationId="{E0C20967-A879-7D35-CDC8-E03CD580E54B}"/>
          </ac:spMkLst>
        </pc:spChg>
        <pc:spChg chg="add mod">
          <ac:chgData name="Aurelien Domont" userId="6da7715ce44349b3" providerId="LiveId" clId="{1A65848B-9F1B-4AD0-AD98-692A2614DF16}" dt="2023-05-05T06:04:06.036" v="1212" actId="20577"/>
          <ac:spMkLst>
            <pc:docMk/>
            <pc:sldMk cId="1567968009" sldId="2217"/>
            <ac:spMk id="8" creationId="{2543CC0E-0444-FB1D-A842-198CAEA10CA7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1567968009" sldId="2217"/>
            <ac:spMk id="16" creationId="{6C2BB713-9637-4B9B-938F-E9768876782A}"/>
          </ac:spMkLst>
        </pc:spChg>
        <pc:picChg chg="del mod">
          <ac:chgData name="Aurelien Domont" userId="6da7715ce44349b3" providerId="LiveId" clId="{1A65848B-9F1B-4AD0-AD98-692A2614DF16}" dt="2023-05-05T05:59:24.266" v="781" actId="478"/>
          <ac:picMkLst>
            <pc:docMk/>
            <pc:sldMk cId="1567968009" sldId="2217"/>
            <ac:picMk id="2" creationId="{B55D5E2B-E4A8-B086-2532-18D28B9E4B52}"/>
          </ac:picMkLst>
        </pc:picChg>
        <pc:picChg chg="add mod">
          <ac:chgData name="Aurelien Domont" userId="6da7715ce44349b3" providerId="LiveId" clId="{1A65848B-9F1B-4AD0-AD98-692A2614DF16}" dt="2023-05-05T05:59:32.190" v="784" actId="14861"/>
          <ac:picMkLst>
            <pc:docMk/>
            <pc:sldMk cId="1567968009" sldId="2217"/>
            <ac:picMk id="4" creationId="{069E7982-A4BC-4467-4480-EA22A2B7B45C}"/>
          </ac:picMkLst>
        </pc:picChg>
      </pc:sldChg>
      <pc:sldChg chg="addSp modSp add del mod ord">
        <pc:chgData name="Aurelien Domont" userId="6da7715ce44349b3" providerId="LiveId" clId="{1A65848B-9F1B-4AD0-AD98-692A2614DF16}" dt="2023-05-05T06:38:39.001" v="2739" actId="47"/>
        <pc:sldMkLst>
          <pc:docMk/>
          <pc:sldMk cId="273684372" sldId="2218"/>
        </pc:sldMkLst>
        <pc:spChg chg="add mod">
          <ac:chgData name="Aurelien Domont" userId="6da7715ce44349b3" providerId="LiveId" clId="{1A65848B-9F1B-4AD0-AD98-692A2614DF16}" dt="2023-05-05T06:04:41.063" v="1242" actId="14100"/>
          <ac:spMkLst>
            <pc:docMk/>
            <pc:sldMk cId="273684372" sldId="2218"/>
            <ac:spMk id="2" creationId="{40D5D8E5-E3C0-E77B-E654-AF9E04AEA144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73684372" sldId="2218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04:37.165" v="1240" actId="14100"/>
          <ac:spMkLst>
            <pc:docMk/>
            <pc:sldMk cId="273684372" sldId="2218"/>
            <ac:spMk id="7" creationId="{E0C20967-A879-7D35-CDC8-E03CD580E54B}"/>
          </ac:spMkLst>
        </pc:spChg>
        <pc:spChg chg="mod">
          <ac:chgData name="Aurelien Domont" userId="6da7715ce44349b3" providerId="LiveId" clId="{1A65848B-9F1B-4AD0-AD98-692A2614DF16}" dt="2023-05-05T06:18:07.177" v="2110" actId="20577"/>
          <ac:spMkLst>
            <pc:docMk/>
            <pc:sldMk cId="273684372" sldId="2218"/>
            <ac:spMk id="8" creationId="{2543CC0E-0444-FB1D-A842-198CAEA10CA7}"/>
          </ac:spMkLst>
        </pc:spChg>
        <pc:spChg chg="add mod">
          <ac:chgData name="Aurelien Domont" userId="6da7715ce44349b3" providerId="LiveId" clId="{1A65848B-9F1B-4AD0-AD98-692A2614DF16}" dt="2023-05-05T06:04:43.207" v="1244" actId="571"/>
          <ac:spMkLst>
            <pc:docMk/>
            <pc:sldMk cId="273684372" sldId="2218"/>
            <ac:spMk id="9" creationId="{DC885B64-41E9-3320-3468-4BE19E572608}"/>
          </ac:spMkLst>
        </pc:spChg>
        <pc:spChg chg="add mod">
          <ac:chgData name="Aurelien Domont" userId="6da7715ce44349b3" providerId="LiveId" clId="{1A65848B-9F1B-4AD0-AD98-692A2614DF16}" dt="2023-05-05T06:04:46.154" v="1246" actId="571"/>
          <ac:spMkLst>
            <pc:docMk/>
            <pc:sldMk cId="273684372" sldId="2218"/>
            <ac:spMk id="11" creationId="{7D9F629C-5FF6-5C11-F739-AF5F1C2A62B7}"/>
          </ac:spMkLst>
        </pc:spChg>
        <pc:spChg chg="add mod">
          <ac:chgData name="Aurelien Domont" userId="6da7715ce44349b3" providerId="LiveId" clId="{1A65848B-9F1B-4AD0-AD98-692A2614DF16}" dt="2023-05-05T06:04:49.879" v="1247" actId="571"/>
          <ac:spMkLst>
            <pc:docMk/>
            <pc:sldMk cId="273684372" sldId="2218"/>
            <ac:spMk id="12" creationId="{9DF8D944-CD54-CFAE-E26F-56F139519B80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73684372" sldId="2218"/>
            <ac:spMk id="16" creationId="{6C2BB713-9637-4B9B-938F-E9768876782A}"/>
          </ac:spMkLst>
        </pc:spChg>
        <pc:picChg chg="add mod">
          <ac:chgData name="Aurelien Domont" userId="6da7715ce44349b3" providerId="LiveId" clId="{1A65848B-9F1B-4AD0-AD98-692A2614DF16}" dt="2023-05-05T06:04:43.207" v="1244" actId="571"/>
          <ac:picMkLst>
            <pc:docMk/>
            <pc:sldMk cId="273684372" sldId="2218"/>
            <ac:picMk id="5" creationId="{E3D8E691-CD54-051B-66BA-A0FB1A48A926}"/>
          </ac:picMkLst>
        </pc:picChg>
        <pc:picChg chg="add mod">
          <ac:chgData name="Aurelien Domont" userId="6da7715ce44349b3" providerId="LiveId" clId="{1A65848B-9F1B-4AD0-AD98-692A2614DF16}" dt="2023-05-05T06:04:46.154" v="1246" actId="571"/>
          <ac:picMkLst>
            <pc:docMk/>
            <pc:sldMk cId="273684372" sldId="2218"/>
            <ac:picMk id="10" creationId="{9CE27CB9-6E0B-2909-B0FB-754A6F9A0D3F}"/>
          </ac:picMkLst>
        </pc:picChg>
      </pc:sldChg>
      <pc:sldChg chg="modSp add del mod">
        <pc:chgData name="Aurelien Domont" userId="6da7715ce44349b3" providerId="LiveId" clId="{1A65848B-9F1B-4AD0-AD98-692A2614DF16}" dt="2023-05-05T06:12:00.099" v="1883" actId="47"/>
        <pc:sldMkLst>
          <pc:docMk/>
          <pc:sldMk cId="597113076" sldId="2219"/>
        </pc:sldMkLst>
        <pc:spChg chg="mod">
          <ac:chgData name="Aurelien Domont" userId="6da7715ce44349b3" providerId="LiveId" clId="{1A65848B-9F1B-4AD0-AD98-692A2614DF16}" dt="2023-05-05T06:07:20.986" v="1523" actId="20577"/>
          <ac:spMkLst>
            <pc:docMk/>
            <pc:sldMk cId="597113076" sldId="2219"/>
            <ac:spMk id="16" creationId="{6C2BB713-9637-4B9B-938F-E9768876782A}"/>
          </ac:spMkLst>
        </pc:spChg>
      </pc:sldChg>
      <pc:sldChg chg="addSp delSp modSp add mod">
        <pc:chgData name="Aurelien Domont" userId="6da7715ce44349b3" providerId="LiveId" clId="{1A65848B-9F1B-4AD0-AD98-692A2614DF16}" dt="2023-05-08T05:45:09.048" v="3442" actId="478"/>
        <pc:sldMkLst>
          <pc:docMk/>
          <pc:sldMk cId="4166839729" sldId="2219"/>
        </pc:sldMkLst>
        <pc:spChg chg="del">
          <ac:chgData name="Aurelien Domont" userId="6da7715ce44349b3" providerId="LiveId" clId="{1A65848B-9F1B-4AD0-AD98-692A2614DF16}" dt="2023-05-05T06:12:06.884" v="1887" actId="478"/>
          <ac:spMkLst>
            <pc:docMk/>
            <pc:sldMk cId="4166839729" sldId="2219"/>
            <ac:spMk id="2" creationId="{40D5D8E5-E3C0-E77B-E654-AF9E04AEA144}"/>
          </ac:spMkLst>
        </pc:spChg>
        <pc:spChg chg="add del mod">
          <ac:chgData name="Aurelien Domont" userId="6da7715ce44349b3" providerId="LiveId" clId="{1A65848B-9F1B-4AD0-AD98-692A2614DF16}" dt="2023-05-08T05:45:09.048" v="3442" actId="478"/>
          <ac:spMkLst>
            <pc:docMk/>
            <pc:sldMk cId="4166839729" sldId="2219"/>
            <ac:spMk id="2" creationId="{85C0AFDF-D738-F535-8E20-0A54E93B6A23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4166839729" sldId="2219"/>
            <ac:spMk id="3" creationId="{CE2529A3-BA97-486F-9E02-8DFAAA7D8D38}"/>
          </ac:spMkLst>
        </pc:spChg>
        <pc:spChg chg="add mod">
          <ac:chgData name="Aurelien Domont" userId="6da7715ce44349b3" providerId="LiveId" clId="{1A65848B-9F1B-4AD0-AD98-692A2614DF16}" dt="2023-05-05T06:39:43.618" v="2752" actId="404"/>
          <ac:spMkLst>
            <pc:docMk/>
            <pc:sldMk cId="4166839729" sldId="2219"/>
            <ac:spMk id="5" creationId="{715C938B-09B2-FA4E-4348-15BA21831143}"/>
          </ac:spMkLst>
        </pc:spChg>
        <pc:spChg chg="del mod">
          <ac:chgData name="Aurelien Domont" userId="6da7715ce44349b3" providerId="LiveId" clId="{1A65848B-9F1B-4AD0-AD98-692A2614DF16}" dt="2023-05-05T06:41:47.883" v="2774" actId="478"/>
          <ac:spMkLst>
            <pc:docMk/>
            <pc:sldMk cId="4166839729" sldId="2219"/>
            <ac:spMk id="6" creationId="{061F3026-0FD7-506E-BDFA-DDE75B3643B5}"/>
          </ac:spMkLst>
        </pc:spChg>
        <pc:spChg chg="del">
          <ac:chgData name="Aurelien Domont" userId="6da7715ce44349b3" providerId="LiveId" clId="{1A65848B-9F1B-4AD0-AD98-692A2614DF16}" dt="2023-05-05T06:12:06.884" v="1887" actId="478"/>
          <ac:spMkLst>
            <pc:docMk/>
            <pc:sldMk cId="4166839729" sldId="2219"/>
            <ac:spMk id="7" creationId="{E0C20967-A879-7D35-CDC8-E03CD580E54B}"/>
          </ac:spMkLst>
        </pc:spChg>
        <pc:spChg chg="del">
          <ac:chgData name="Aurelien Domont" userId="6da7715ce44349b3" providerId="LiveId" clId="{1A65848B-9F1B-4AD0-AD98-692A2614DF16}" dt="2023-05-05T06:12:06.884" v="1887" actId="478"/>
          <ac:spMkLst>
            <pc:docMk/>
            <pc:sldMk cId="4166839729" sldId="2219"/>
            <ac:spMk id="8" creationId="{2543CC0E-0444-FB1D-A842-198CAEA10CA7}"/>
          </ac:spMkLst>
        </pc:spChg>
        <pc:spChg chg="add mod">
          <ac:chgData name="Aurelien Domont" userId="6da7715ce44349b3" providerId="LiveId" clId="{1A65848B-9F1B-4AD0-AD98-692A2614DF16}" dt="2023-05-05T06:39:43.618" v="2752" actId="404"/>
          <ac:spMkLst>
            <pc:docMk/>
            <pc:sldMk cId="4166839729" sldId="2219"/>
            <ac:spMk id="9" creationId="{5570BD1A-4992-BF23-4DB2-DECF83CBA167}"/>
          </ac:spMkLst>
        </pc:spChg>
        <pc:spChg chg="add mod">
          <ac:chgData name="Aurelien Domont" userId="6da7715ce44349b3" providerId="LiveId" clId="{1A65848B-9F1B-4AD0-AD98-692A2614DF16}" dt="2023-05-05T06:39:43.618" v="2752" actId="404"/>
          <ac:spMkLst>
            <pc:docMk/>
            <pc:sldMk cId="4166839729" sldId="2219"/>
            <ac:spMk id="10" creationId="{DA09983E-DAB6-D790-81AE-261956D08694}"/>
          </ac:spMkLst>
        </pc:spChg>
        <pc:spChg chg="add mod">
          <ac:chgData name="Aurelien Domont" userId="6da7715ce44349b3" providerId="LiveId" clId="{1A65848B-9F1B-4AD0-AD98-692A2614DF16}" dt="2023-05-05T06:39:43.618" v="2752" actId="404"/>
          <ac:spMkLst>
            <pc:docMk/>
            <pc:sldMk cId="4166839729" sldId="2219"/>
            <ac:spMk id="11" creationId="{AB247AC3-2E7A-4CA1-2780-871AC7D977F8}"/>
          </ac:spMkLst>
        </pc:spChg>
        <pc:spChg chg="del">
          <ac:chgData name="Aurelien Domont" userId="6da7715ce44349b3" providerId="LiveId" clId="{1A65848B-9F1B-4AD0-AD98-692A2614DF16}" dt="2023-05-05T06:12:06.884" v="1887" actId="478"/>
          <ac:spMkLst>
            <pc:docMk/>
            <pc:sldMk cId="4166839729" sldId="2219"/>
            <ac:spMk id="12" creationId="{9DF8D944-CD54-CFAE-E26F-56F139519B80}"/>
          </ac:spMkLst>
        </pc:spChg>
        <pc:spChg chg="add mod">
          <ac:chgData name="Aurelien Domont" userId="6da7715ce44349b3" providerId="LiveId" clId="{1A65848B-9F1B-4AD0-AD98-692A2614DF16}" dt="2023-05-05T06:39:43.618" v="2752" actId="404"/>
          <ac:spMkLst>
            <pc:docMk/>
            <pc:sldMk cId="4166839729" sldId="2219"/>
            <ac:spMk id="14" creationId="{7ABBC8D6-4349-F465-7209-812581166E17}"/>
          </ac:spMkLst>
        </pc:spChg>
        <pc:spChg chg="add mod">
          <ac:chgData name="Aurelien Domont" userId="6da7715ce44349b3" providerId="LiveId" clId="{1A65848B-9F1B-4AD0-AD98-692A2614DF16}" dt="2023-05-05T06:39:43.618" v="2752" actId="404"/>
          <ac:spMkLst>
            <pc:docMk/>
            <pc:sldMk cId="4166839729" sldId="2219"/>
            <ac:spMk id="15" creationId="{9A60A24A-A998-D579-E46C-4397D5A9C432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4166839729" sldId="2219"/>
            <ac:spMk id="16" creationId="{6C2BB713-9637-4B9B-938F-E9768876782A}"/>
          </ac:spMkLst>
        </pc:spChg>
        <pc:spChg chg="add mod">
          <ac:chgData name="Aurelien Domont" userId="6da7715ce44349b3" providerId="LiveId" clId="{1A65848B-9F1B-4AD0-AD98-692A2614DF16}" dt="2023-05-05T06:39:43.618" v="2752" actId="404"/>
          <ac:spMkLst>
            <pc:docMk/>
            <pc:sldMk cId="4166839729" sldId="2219"/>
            <ac:spMk id="17" creationId="{5EAB1704-779F-6DE5-D2AE-CA24B931ED03}"/>
          </ac:spMkLst>
        </pc:spChg>
        <pc:spChg chg="add mod">
          <ac:chgData name="Aurelien Domont" userId="6da7715ce44349b3" providerId="LiveId" clId="{1A65848B-9F1B-4AD0-AD98-692A2614DF16}" dt="2023-05-05T06:39:52.631" v="2754" actId="113"/>
          <ac:spMkLst>
            <pc:docMk/>
            <pc:sldMk cId="4166839729" sldId="2219"/>
            <ac:spMk id="18" creationId="{F758C308-CEEB-89CE-E70C-79B169510408}"/>
          </ac:spMkLst>
        </pc:spChg>
        <pc:spChg chg="add mod">
          <ac:chgData name="Aurelien Domont" userId="6da7715ce44349b3" providerId="LiveId" clId="{1A65848B-9F1B-4AD0-AD98-692A2614DF16}" dt="2023-05-05T06:39:52.631" v="2754" actId="113"/>
          <ac:spMkLst>
            <pc:docMk/>
            <pc:sldMk cId="4166839729" sldId="2219"/>
            <ac:spMk id="19" creationId="{CAF5BB3A-3EE3-68C2-B5B6-B05A5209A5FA}"/>
          </ac:spMkLst>
        </pc:spChg>
        <pc:spChg chg="add del mod">
          <ac:chgData name="Aurelien Domont" userId="6da7715ce44349b3" providerId="LiveId" clId="{1A65848B-9F1B-4AD0-AD98-692A2614DF16}" dt="2023-05-05T06:14:24.170" v="1982" actId="478"/>
          <ac:spMkLst>
            <pc:docMk/>
            <pc:sldMk cId="4166839729" sldId="2219"/>
            <ac:spMk id="20" creationId="{9030C0A9-EABA-6E2B-433C-A7F3142CB72A}"/>
          </ac:spMkLst>
        </pc:spChg>
        <pc:spChg chg="add del mod">
          <ac:chgData name="Aurelien Domont" userId="6da7715ce44349b3" providerId="LiveId" clId="{1A65848B-9F1B-4AD0-AD98-692A2614DF16}" dt="2023-05-05T06:14:24.170" v="1982" actId="478"/>
          <ac:spMkLst>
            <pc:docMk/>
            <pc:sldMk cId="4166839729" sldId="2219"/>
            <ac:spMk id="21" creationId="{1979CF9A-4894-C4BC-CCC9-BFE0D160CED7}"/>
          </ac:spMkLst>
        </pc:spChg>
        <pc:spChg chg="add mod">
          <ac:chgData name="Aurelien Domont" userId="6da7715ce44349b3" providerId="LiveId" clId="{1A65848B-9F1B-4AD0-AD98-692A2614DF16}" dt="2023-05-05T06:14:30.521" v="1984" actId="571"/>
          <ac:spMkLst>
            <pc:docMk/>
            <pc:sldMk cId="4166839729" sldId="2219"/>
            <ac:spMk id="22" creationId="{C2D47809-185C-1BCE-C8ED-D710909717C1}"/>
          </ac:spMkLst>
        </pc:spChg>
        <pc:spChg chg="add mod">
          <ac:chgData name="Aurelien Domont" userId="6da7715ce44349b3" providerId="LiveId" clId="{1A65848B-9F1B-4AD0-AD98-692A2614DF16}" dt="2023-05-08T05:45:06.291" v="3440" actId="20577"/>
          <ac:spMkLst>
            <pc:docMk/>
            <pc:sldMk cId="4166839729" sldId="2219"/>
            <ac:spMk id="23" creationId="{C6353779-E9D7-89C6-956A-F7FB4DD80076}"/>
          </ac:spMkLst>
        </pc:spChg>
        <pc:spChg chg="add del mod">
          <ac:chgData name="Aurelien Domont" userId="6da7715ce44349b3" providerId="LiveId" clId="{1A65848B-9F1B-4AD0-AD98-692A2614DF16}" dt="2023-05-05T06:15:49.186" v="2015" actId="478"/>
          <ac:spMkLst>
            <pc:docMk/>
            <pc:sldMk cId="4166839729" sldId="2219"/>
            <ac:spMk id="24" creationId="{62EEDBCC-4990-44EB-1ADC-E8A6981ECB66}"/>
          </ac:spMkLst>
        </pc:spChg>
        <pc:spChg chg="add del mod">
          <ac:chgData name="Aurelien Domont" userId="6da7715ce44349b3" providerId="LiveId" clId="{1A65848B-9F1B-4AD0-AD98-692A2614DF16}" dt="2023-05-05T06:14:54.342" v="1989" actId="478"/>
          <ac:spMkLst>
            <pc:docMk/>
            <pc:sldMk cId="4166839729" sldId="2219"/>
            <ac:spMk id="25" creationId="{294D410F-6881-8532-3A37-7378B17F0303}"/>
          </ac:spMkLst>
        </pc:spChg>
        <pc:spChg chg="add del mod">
          <ac:chgData name="Aurelien Domont" userId="6da7715ce44349b3" providerId="LiveId" clId="{1A65848B-9F1B-4AD0-AD98-692A2614DF16}" dt="2023-05-05T06:14:53.044" v="1988" actId="478"/>
          <ac:spMkLst>
            <pc:docMk/>
            <pc:sldMk cId="4166839729" sldId="2219"/>
            <ac:spMk id="26" creationId="{CCF2B515-9B83-58A2-C1F6-DCC47CE80BCD}"/>
          </ac:spMkLst>
        </pc:spChg>
        <pc:spChg chg="add mod">
          <ac:chgData name="Aurelien Domont" userId="6da7715ce44349b3" providerId="LiveId" clId="{1A65848B-9F1B-4AD0-AD98-692A2614DF16}" dt="2023-05-05T06:14:58.169" v="1991" actId="571"/>
          <ac:spMkLst>
            <pc:docMk/>
            <pc:sldMk cId="4166839729" sldId="2219"/>
            <ac:spMk id="27" creationId="{30412534-1DF2-E837-84B1-D5FA2B09E652}"/>
          </ac:spMkLst>
        </pc:spChg>
        <pc:spChg chg="add del mod">
          <ac:chgData name="Aurelien Domont" userId="6da7715ce44349b3" providerId="LiveId" clId="{1A65848B-9F1B-4AD0-AD98-692A2614DF16}" dt="2023-05-05T06:33:30.398" v="2577" actId="478"/>
          <ac:spMkLst>
            <pc:docMk/>
            <pc:sldMk cId="4166839729" sldId="2219"/>
            <ac:spMk id="28" creationId="{431F00DF-A310-FFC3-4A99-D604DDFC60AE}"/>
          </ac:spMkLst>
        </pc:spChg>
        <pc:spChg chg="add del mod">
          <ac:chgData name="Aurelien Domont" userId="6da7715ce44349b3" providerId="LiveId" clId="{1A65848B-9F1B-4AD0-AD98-692A2614DF16}" dt="2023-05-05T06:33:30.398" v="2577" actId="478"/>
          <ac:spMkLst>
            <pc:docMk/>
            <pc:sldMk cId="4166839729" sldId="2219"/>
            <ac:spMk id="29" creationId="{59140BD2-BBD9-1020-13C0-C2A80BAE9D3B}"/>
          </ac:spMkLst>
        </pc:spChg>
        <pc:spChg chg="add del mod">
          <ac:chgData name="Aurelien Domont" userId="6da7715ce44349b3" providerId="LiveId" clId="{1A65848B-9F1B-4AD0-AD98-692A2614DF16}" dt="2023-05-05T06:33:30.398" v="2577" actId="478"/>
          <ac:spMkLst>
            <pc:docMk/>
            <pc:sldMk cId="4166839729" sldId="2219"/>
            <ac:spMk id="30" creationId="{18A642AD-9597-63CE-DC54-4F4270E0F7E0}"/>
          </ac:spMkLst>
        </pc:spChg>
        <pc:spChg chg="add mod">
          <ac:chgData name="Aurelien Domont" userId="6da7715ce44349b3" providerId="LiveId" clId="{1A65848B-9F1B-4AD0-AD98-692A2614DF16}" dt="2023-05-05T06:15:34.674" v="2010" actId="571"/>
          <ac:spMkLst>
            <pc:docMk/>
            <pc:sldMk cId="4166839729" sldId="2219"/>
            <ac:spMk id="31" creationId="{9EDE4972-0DF3-C8EA-5D62-AE895D4B5E35}"/>
          </ac:spMkLst>
        </pc:spChg>
        <pc:spChg chg="add del mod">
          <ac:chgData name="Aurelien Domont" userId="6da7715ce44349b3" providerId="LiveId" clId="{1A65848B-9F1B-4AD0-AD98-692A2614DF16}" dt="2023-05-05T06:33:30.398" v="2577" actId="478"/>
          <ac:spMkLst>
            <pc:docMk/>
            <pc:sldMk cId="4166839729" sldId="2219"/>
            <ac:spMk id="32" creationId="{3B373160-F080-80BB-097F-4D5133AA1243}"/>
          </ac:spMkLst>
        </pc:spChg>
        <pc:spChg chg="add del mod">
          <ac:chgData name="Aurelien Domont" userId="6da7715ce44349b3" providerId="LiveId" clId="{1A65848B-9F1B-4AD0-AD98-692A2614DF16}" dt="2023-05-05T06:33:30.398" v="2577" actId="478"/>
          <ac:spMkLst>
            <pc:docMk/>
            <pc:sldMk cId="4166839729" sldId="2219"/>
            <ac:spMk id="33" creationId="{720E05B7-56D1-7809-69A8-723B44150579}"/>
          </ac:spMkLst>
        </pc:spChg>
        <pc:spChg chg="add mod">
          <ac:chgData name="Aurelien Domont" userId="6da7715ce44349b3" providerId="LiveId" clId="{1A65848B-9F1B-4AD0-AD98-692A2614DF16}" dt="2023-05-08T05:45:02.120" v="3427" actId="404"/>
          <ac:spMkLst>
            <pc:docMk/>
            <pc:sldMk cId="4166839729" sldId="2219"/>
            <ac:spMk id="34" creationId="{A0CC5CCF-1F63-EBD7-C6A7-13DF617B15C2}"/>
          </ac:spMkLst>
        </pc:spChg>
        <pc:spChg chg="add mod">
          <ac:chgData name="Aurelien Domont" userId="6da7715ce44349b3" providerId="LiveId" clId="{1A65848B-9F1B-4AD0-AD98-692A2614DF16}" dt="2023-05-05T06:39:43.618" v="2752" actId="404"/>
          <ac:spMkLst>
            <pc:docMk/>
            <pc:sldMk cId="4166839729" sldId="2219"/>
            <ac:spMk id="35" creationId="{757458C6-45B9-89E5-0122-3249D0964E4D}"/>
          </ac:spMkLst>
        </pc:spChg>
        <pc:spChg chg="add mod">
          <ac:chgData name="Aurelien Domont" userId="6da7715ce44349b3" providerId="LiveId" clId="{1A65848B-9F1B-4AD0-AD98-692A2614DF16}" dt="2023-05-08T05:45:02.120" v="3427" actId="404"/>
          <ac:spMkLst>
            <pc:docMk/>
            <pc:sldMk cId="4166839729" sldId="2219"/>
            <ac:spMk id="36" creationId="{A810A1F2-BCDF-14FF-EB18-E75D5F5FC587}"/>
          </ac:spMkLst>
        </pc:spChg>
        <pc:spChg chg="add mod">
          <ac:chgData name="Aurelien Domont" userId="6da7715ce44349b3" providerId="LiveId" clId="{1A65848B-9F1B-4AD0-AD98-692A2614DF16}" dt="2023-05-08T05:45:02.120" v="3427" actId="404"/>
          <ac:spMkLst>
            <pc:docMk/>
            <pc:sldMk cId="4166839729" sldId="2219"/>
            <ac:spMk id="37" creationId="{C13E7937-6AFB-C061-B8FC-CFEE8B9AF782}"/>
          </ac:spMkLst>
        </pc:spChg>
        <pc:spChg chg="add del mod">
          <ac:chgData name="Aurelien Domont" userId="6da7715ce44349b3" providerId="LiveId" clId="{1A65848B-9F1B-4AD0-AD98-692A2614DF16}" dt="2023-05-05T06:33:57.224" v="2588" actId="478"/>
          <ac:spMkLst>
            <pc:docMk/>
            <pc:sldMk cId="4166839729" sldId="2219"/>
            <ac:spMk id="38" creationId="{CAC6D54B-ACC0-0E78-D680-9B36CB6BB7E8}"/>
          </ac:spMkLst>
        </pc:spChg>
        <pc:spChg chg="add del mod">
          <ac:chgData name="Aurelien Domont" userId="6da7715ce44349b3" providerId="LiveId" clId="{1A65848B-9F1B-4AD0-AD98-692A2614DF16}" dt="2023-05-05T06:33:57.224" v="2588" actId="478"/>
          <ac:spMkLst>
            <pc:docMk/>
            <pc:sldMk cId="4166839729" sldId="2219"/>
            <ac:spMk id="39" creationId="{B4B290FC-0E6C-5B93-0B84-96A2B322D461}"/>
          </ac:spMkLst>
        </pc:spChg>
        <pc:spChg chg="add del mod">
          <ac:chgData name="Aurelien Domont" userId="6da7715ce44349b3" providerId="LiveId" clId="{1A65848B-9F1B-4AD0-AD98-692A2614DF16}" dt="2023-05-05T06:33:57.224" v="2588" actId="478"/>
          <ac:spMkLst>
            <pc:docMk/>
            <pc:sldMk cId="4166839729" sldId="2219"/>
            <ac:spMk id="40" creationId="{E0C32B66-6C50-6BF5-72A8-05A0686B5658}"/>
          </ac:spMkLst>
        </pc:spChg>
        <pc:spChg chg="add del mod">
          <ac:chgData name="Aurelien Domont" userId="6da7715ce44349b3" providerId="LiveId" clId="{1A65848B-9F1B-4AD0-AD98-692A2614DF16}" dt="2023-05-05T06:33:57.224" v="2588" actId="478"/>
          <ac:spMkLst>
            <pc:docMk/>
            <pc:sldMk cId="4166839729" sldId="2219"/>
            <ac:spMk id="41" creationId="{53118418-5520-2176-2223-5D8B465FC360}"/>
          </ac:spMkLst>
        </pc:spChg>
        <pc:spChg chg="add del mod">
          <ac:chgData name="Aurelien Domont" userId="6da7715ce44349b3" providerId="LiveId" clId="{1A65848B-9F1B-4AD0-AD98-692A2614DF16}" dt="2023-05-05T06:33:57.224" v="2588" actId="478"/>
          <ac:spMkLst>
            <pc:docMk/>
            <pc:sldMk cId="4166839729" sldId="2219"/>
            <ac:spMk id="42" creationId="{C3CAC8C2-AF62-4BF2-BB18-96B03898B5F9}"/>
          </ac:spMkLst>
        </pc:spChg>
        <pc:spChg chg="add del mod">
          <ac:chgData name="Aurelien Domont" userId="6da7715ce44349b3" providerId="LiveId" clId="{1A65848B-9F1B-4AD0-AD98-692A2614DF16}" dt="2023-05-05T06:34:05.433" v="2590" actId="478"/>
          <ac:spMkLst>
            <pc:docMk/>
            <pc:sldMk cId="4166839729" sldId="2219"/>
            <ac:spMk id="43" creationId="{0EADFA4D-EDFC-7C72-7580-F4CAE5C80C72}"/>
          </ac:spMkLst>
        </pc:spChg>
        <pc:spChg chg="add mod">
          <ac:chgData name="Aurelien Domont" userId="6da7715ce44349b3" providerId="LiveId" clId="{1A65848B-9F1B-4AD0-AD98-692A2614DF16}" dt="2023-05-08T05:45:03.347" v="3431" actId="20577"/>
          <ac:spMkLst>
            <pc:docMk/>
            <pc:sldMk cId="4166839729" sldId="2219"/>
            <ac:spMk id="44" creationId="{7B9D2962-CC5F-F479-16D9-C3EDEF564F66}"/>
          </ac:spMkLst>
        </pc:spChg>
        <pc:spChg chg="add del mod">
          <ac:chgData name="Aurelien Domont" userId="6da7715ce44349b3" providerId="LiveId" clId="{1A65848B-9F1B-4AD0-AD98-692A2614DF16}" dt="2023-05-05T06:25:34.188" v="2382" actId="478"/>
          <ac:spMkLst>
            <pc:docMk/>
            <pc:sldMk cId="4166839729" sldId="2219"/>
            <ac:spMk id="45" creationId="{C6EC1F9D-B8FE-A505-D74A-4A830E9BFFF7}"/>
          </ac:spMkLst>
        </pc:spChg>
        <pc:spChg chg="add del mod">
          <ac:chgData name="Aurelien Domont" userId="6da7715ce44349b3" providerId="LiveId" clId="{1A65848B-9F1B-4AD0-AD98-692A2614DF16}" dt="2023-05-05T06:26:43.775" v="2391" actId="478"/>
          <ac:spMkLst>
            <pc:docMk/>
            <pc:sldMk cId="4166839729" sldId="2219"/>
            <ac:spMk id="46" creationId="{97B937FB-3B55-0338-0193-8DE10E16FBE6}"/>
          </ac:spMkLst>
        </pc:spChg>
        <pc:spChg chg="add del mod ord">
          <ac:chgData name="Aurelien Domont" userId="6da7715ce44349b3" providerId="LiveId" clId="{1A65848B-9F1B-4AD0-AD98-692A2614DF16}" dt="2023-05-05T06:33:25.481" v="2576" actId="478"/>
          <ac:spMkLst>
            <pc:docMk/>
            <pc:sldMk cId="4166839729" sldId="2219"/>
            <ac:spMk id="47" creationId="{03759636-0F3B-8737-AEF7-1C4E5C8078D8}"/>
          </ac:spMkLst>
        </pc:spChg>
        <pc:spChg chg="add del mod ord">
          <ac:chgData name="Aurelien Domont" userId="6da7715ce44349b3" providerId="LiveId" clId="{1A65848B-9F1B-4AD0-AD98-692A2614DF16}" dt="2023-05-05T06:31:57.343" v="2569" actId="478"/>
          <ac:spMkLst>
            <pc:docMk/>
            <pc:sldMk cId="4166839729" sldId="2219"/>
            <ac:spMk id="48" creationId="{5E3F7FE7-FAB7-8C5D-313D-E0D07928D3B2}"/>
          </ac:spMkLst>
        </pc:spChg>
        <pc:spChg chg="add del mod ord">
          <ac:chgData name="Aurelien Domont" userId="6da7715ce44349b3" providerId="LiveId" clId="{1A65848B-9F1B-4AD0-AD98-692A2614DF16}" dt="2023-05-05T06:31:58.461" v="2570" actId="478"/>
          <ac:spMkLst>
            <pc:docMk/>
            <pc:sldMk cId="4166839729" sldId="2219"/>
            <ac:spMk id="49" creationId="{A7853CAB-3054-83A8-6142-29638BCEBA5D}"/>
          </ac:spMkLst>
        </pc:spChg>
        <pc:spChg chg="add del mod ord">
          <ac:chgData name="Aurelien Domont" userId="6da7715ce44349b3" providerId="LiveId" clId="{1A65848B-9F1B-4AD0-AD98-692A2614DF16}" dt="2023-05-05T06:31:59.549" v="2571" actId="478"/>
          <ac:spMkLst>
            <pc:docMk/>
            <pc:sldMk cId="4166839729" sldId="2219"/>
            <ac:spMk id="50" creationId="{9013EE3D-67FA-D155-A479-4D92DB833C65}"/>
          </ac:spMkLst>
        </pc:spChg>
        <pc:spChg chg="add del mod ord">
          <ac:chgData name="Aurelien Domont" userId="6da7715ce44349b3" providerId="LiveId" clId="{1A65848B-9F1B-4AD0-AD98-692A2614DF16}" dt="2023-05-05T06:32:00.492" v="2572" actId="478"/>
          <ac:spMkLst>
            <pc:docMk/>
            <pc:sldMk cId="4166839729" sldId="2219"/>
            <ac:spMk id="51" creationId="{5217ED60-4006-38DE-91AE-EB16EA3BD43D}"/>
          </ac:spMkLst>
        </pc:spChg>
        <pc:spChg chg="add mod">
          <ac:chgData name="Aurelien Domont" userId="6da7715ce44349b3" providerId="LiveId" clId="{1A65848B-9F1B-4AD0-AD98-692A2614DF16}" dt="2023-05-05T06:39:49.374" v="2753" actId="255"/>
          <ac:spMkLst>
            <pc:docMk/>
            <pc:sldMk cId="4166839729" sldId="2219"/>
            <ac:spMk id="52" creationId="{AAF0D362-5670-0C0B-B0CF-AE083D24AEF7}"/>
          </ac:spMkLst>
        </pc:spChg>
        <pc:spChg chg="add mod">
          <ac:chgData name="Aurelien Domont" userId="6da7715ce44349b3" providerId="LiveId" clId="{1A65848B-9F1B-4AD0-AD98-692A2614DF16}" dt="2023-05-08T05:45:02.308" v="3428" actId="14100"/>
          <ac:spMkLst>
            <pc:docMk/>
            <pc:sldMk cId="4166839729" sldId="2219"/>
            <ac:spMk id="53" creationId="{94411B58-067D-EEEF-2D3B-BE967C28DD0D}"/>
          </ac:spMkLst>
        </pc:spChg>
        <pc:spChg chg="add mod">
          <ac:chgData name="Aurelien Domont" userId="6da7715ce44349b3" providerId="LiveId" clId="{1A65848B-9F1B-4AD0-AD98-692A2614DF16}" dt="2023-05-05T06:39:49.374" v="2753" actId="255"/>
          <ac:spMkLst>
            <pc:docMk/>
            <pc:sldMk cId="4166839729" sldId="2219"/>
            <ac:spMk id="54" creationId="{4F8E3D5E-679A-5082-3AB3-1F38E242D2E3}"/>
          </ac:spMkLst>
        </pc:spChg>
        <pc:spChg chg="add mod">
          <ac:chgData name="Aurelien Domont" userId="6da7715ce44349b3" providerId="LiveId" clId="{1A65848B-9F1B-4AD0-AD98-692A2614DF16}" dt="2023-05-05T06:39:49.374" v="2753" actId="255"/>
          <ac:spMkLst>
            <pc:docMk/>
            <pc:sldMk cId="4166839729" sldId="2219"/>
            <ac:spMk id="55" creationId="{4B816A14-C00E-DE04-DB71-4FD723630594}"/>
          </ac:spMkLst>
        </pc:spChg>
        <pc:spChg chg="add del mod">
          <ac:chgData name="Aurelien Domont" userId="6da7715ce44349b3" providerId="LiveId" clId="{1A65848B-9F1B-4AD0-AD98-692A2614DF16}" dt="2023-05-05T06:40:54.748" v="2767" actId="478"/>
          <ac:spMkLst>
            <pc:docMk/>
            <pc:sldMk cId="4166839729" sldId="2219"/>
            <ac:spMk id="56" creationId="{8266794C-882A-DC36-7046-C6A473D120E3}"/>
          </ac:spMkLst>
        </pc:spChg>
        <pc:picChg chg="del">
          <ac:chgData name="Aurelien Domont" userId="6da7715ce44349b3" providerId="LiveId" clId="{1A65848B-9F1B-4AD0-AD98-692A2614DF16}" dt="2023-05-05T06:12:06.884" v="1887" actId="478"/>
          <ac:picMkLst>
            <pc:docMk/>
            <pc:sldMk cId="4166839729" sldId="2219"/>
            <ac:picMk id="4" creationId="{069E7982-A4BC-4467-4480-EA22A2B7B45C}"/>
          </ac:picMkLst>
        </pc:picChg>
      </pc:sldChg>
      <pc:sldChg chg="delSp modSp add del mod">
        <pc:chgData name="Aurelien Domont" userId="6da7715ce44349b3" providerId="LiveId" clId="{1A65848B-9F1B-4AD0-AD98-692A2614DF16}" dt="2023-05-05T06:38:35.887" v="2738" actId="47"/>
        <pc:sldMkLst>
          <pc:docMk/>
          <pc:sldMk cId="1054930096" sldId="2220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1054930096" sldId="2220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1054930096" sldId="2220"/>
            <ac:spMk id="16" creationId="{6C2BB713-9637-4B9B-938F-E9768876782A}"/>
          </ac:spMkLst>
        </pc:spChg>
        <pc:spChg chg="del">
          <ac:chgData name="Aurelien Domont" userId="6da7715ce44349b3" providerId="LiveId" clId="{1A65848B-9F1B-4AD0-AD98-692A2614DF16}" dt="2023-05-05T06:32:10.715" v="2573" actId="478"/>
          <ac:spMkLst>
            <pc:docMk/>
            <pc:sldMk cId="1054930096" sldId="2220"/>
            <ac:spMk id="49" creationId="{A7853CAB-3054-83A8-6142-29638BCEBA5D}"/>
          </ac:spMkLst>
        </pc:spChg>
        <pc:spChg chg="del">
          <ac:chgData name="Aurelien Domont" userId="6da7715ce44349b3" providerId="LiveId" clId="{1A65848B-9F1B-4AD0-AD98-692A2614DF16}" dt="2023-05-05T06:32:10.715" v="2573" actId="478"/>
          <ac:spMkLst>
            <pc:docMk/>
            <pc:sldMk cId="1054930096" sldId="2220"/>
            <ac:spMk id="50" creationId="{9013EE3D-67FA-D155-A479-4D92DB833C65}"/>
          </ac:spMkLst>
        </pc:spChg>
        <pc:spChg chg="del">
          <ac:chgData name="Aurelien Domont" userId="6da7715ce44349b3" providerId="LiveId" clId="{1A65848B-9F1B-4AD0-AD98-692A2614DF16}" dt="2023-05-05T06:32:10.715" v="2573" actId="478"/>
          <ac:spMkLst>
            <pc:docMk/>
            <pc:sldMk cId="1054930096" sldId="2220"/>
            <ac:spMk id="51" creationId="{5217ED60-4006-38DE-91AE-EB16EA3BD43D}"/>
          </ac:spMkLst>
        </pc:spChg>
      </pc:sldChg>
      <pc:sldChg chg="addSp delSp modSp add mod">
        <pc:chgData name="Aurelien Domont" userId="6da7715ce44349b3" providerId="LiveId" clId="{1A65848B-9F1B-4AD0-AD98-692A2614DF16}" dt="2023-05-05T06:50:43.247" v="3208" actId="20577"/>
        <pc:sldMkLst>
          <pc:docMk/>
          <pc:sldMk cId="2097558937" sldId="2220"/>
        </pc:sldMkLst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2" creationId="{588BBF57-C661-F8B4-94A8-EE94E69ACB08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4" creationId="{EFEE5AC1-2771-6A3B-FB6D-C6188797417A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5" creationId="{715C938B-09B2-FA4E-4348-15BA21831143}"/>
          </ac:spMkLst>
        </pc:spChg>
        <pc:spChg chg="del">
          <ac:chgData name="Aurelien Domont" userId="6da7715ce44349b3" providerId="LiveId" clId="{1A65848B-9F1B-4AD0-AD98-692A2614DF16}" dt="2023-05-05T06:41:45.311" v="2773" actId="478"/>
          <ac:spMkLst>
            <pc:docMk/>
            <pc:sldMk cId="2097558937" sldId="2220"/>
            <ac:spMk id="6" creationId="{061F3026-0FD7-506E-BDFA-DDE75B3643B5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7" creationId="{D9A37C25-8D50-CCC7-5017-8699A9A85F60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8" creationId="{46C49D77-23CE-186E-8549-25C2615DE07A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9" creationId="{5570BD1A-4992-BF23-4DB2-DECF83CBA167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10" creationId="{DA09983E-DAB6-D790-81AE-261956D08694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11" creationId="{AB247AC3-2E7A-4CA1-2780-871AC7D977F8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12" creationId="{687EAFF8-A5AD-7B18-1BA3-90E36E5007BA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14" creationId="{7ABBC8D6-4349-F465-7209-812581166E17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15" creationId="{9A60A24A-A998-D579-E46C-4397D5A9C432}"/>
          </ac:spMkLst>
        </pc:spChg>
        <pc:spChg chg="mod">
          <ac:chgData name="Aurelien Domont" userId="6da7715ce44349b3" providerId="LiveId" clId="{1A65848B-9F1B-4AD0-AD98-692A2614DF16}" dt="2023-05-05T06:50:43.247" v="3208" actId="20577"/>
          <ac:spMkLst>
            <pc:docMk/>
            <pc:sldMk cId="2097558937" sldId="2220"/>
            <ac:spMk id="16" creationId="{6C2BB713-9637-4B9B-938F-E9768876782A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17" creationId="{5EAB1704-779F-6DE5-D2AE-CA24B931ED03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18" creationId="{F758C308-CEEB-89CE-E70C-79B169510408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19" creationId="{CAF5BB3A-3EE3-68C2-B5B6-B05A5209A5FA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20" creationId="{39CC87E1-497D-4441-01EB-D96778F2F7FC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21" creationId="{81D3975C-87E4-A097-D3A8-75B5A3CCFEB4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22" creationId="{FBDAB95D-D9C8-1FC6-5FE5-27B96B648707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23" creationId="{C6353779-E9D7-89C6-956A-F7FB4DD80076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24" creationId="{134E92A3-486E-B8E4-8489-35EACFE9F816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25" creationId="{51EDFBDB-BF6C-46C1-EFE2-392457788EC6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26" creationId="{80CB46DB-4CBD-5E88-C2BF-A11E66AD15D5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27" creationId="{604C42E7-05A9-FC0D-F24F-4089A87C1AEC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28" creationId="{93B9BFF3-78F2-0A8B-6392-4A507F46B38A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29" creationId="{A9493EA5-4BA4-FE2B-E838-D3847D0BCDC7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30" creationId="{2A968D9D-62A5-E4B8-764D-BA38BE40D7C1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31" creationId="{9411A4BB-C042-22FA-9858-EE07FCA3B3E4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32" creationId="{1B1B026E-F2EC-0FFA-7B4E-6F107333EA1C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33" creationId="{C4E74528-6A66-4F07-AD8D-A318C8B255F3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34" creationId="{A0CC5CCF-1F63-EBD7-C6A7-13DF617B15C2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35" creationId="{757458C6-45B9-89E5-0122-3249D0964E4D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36" creationId="{A810A1F2-BCDF-14FF-EB18-E75D5F5FC587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37" creationId="{C13E7937-6AFB-C061-B8FC-CFEE8B9AF782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38" creationId="{3D7C7708-F071-5165-E846-838BCE935AA1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39" creationId="{5043454F-84E3-EA6D-12E0-BB1F98719407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40" creationId="{D9BC8909-AE45-1B4F-4588-434E069602D4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41" creationId="{9DC41D2A-36C2-B26C-5D56-D99DD3EB85E3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42" creationId="{E02F7802-4E9E-6EE1-184A-7828C1935EEF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43" creationId="{605E3139-FA0C-7BF6-895B-8E3B1A6EFF1D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44" creationId="{7B9D2962-CC5F-F479-16D9-C3EDEF564F66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45" creationId="{1B27EE5E-4A55-EE7A-8271-8AB2DF17E685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46" creationId="{FE74E7AC-81A8-AA43-7F3E-3016AB84E21A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47" creationId="{7AAE7B3A-A3DF-6EB9-EAC8-3600D4A1F6BA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48" creationId="{B8FE38BA-834E-497A-04F5-00343758C785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49" creationId="{7C6B7A89-6252-C033-99C1-1F08A6D36EE9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50" creationId="{4CCF0568-48C0-2BF3-459B-D04BEA40471D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51" creationId="{091B2A5D-DF5C-D761-89CC-AC32EE3ED451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52" creationId="{AAF0D362-5670-0C0B-B0CF-AE083D24AEF7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53" creationId="{94411B58-067D-EEEF-2D3B-BE967C28DD0D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54" creationId="{4F8E3D5E-679A-5082-3AB3-1F38E242D2E3}"/>
          </ac:spMkLst>
        </pc:spChg>
        <pc:spChg chg="del">
          <ac:chgData name="Aurelien Domont" userId="6da7715ce44349b3" providerId="LiveId" clId="{1A65848B-9F1B-4AD0-AD98-692A2614DF16}" dt="2023-05-05T06:41:43.616" v="2772" actId="478"/>
          <ac:spMkLst>
            <pc:docMk/>
            <pc:sldMk cId="2097558937" sldId="2220"/>
            <ac:spMk id="55" creationId="{4B816A14-C00E-DE04-DB71-4FD723630594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56" creationId="{268DF512-C4B2-0966-6EE7-4E5802C76957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57" creationId="{7D0B6837-CE8E-EC2D-109C-4D51C06F5A16}"/>
          </ac:spMkLst>
        </pc:spChg>
        <pc:spChg chg="add mod">
          <ac:chgData name="Aurelien Domont" userId="6da7715ce44349b3" providerId="LiveId" clId="{1A65848B-9F1B-4AD0-AD98-692A2614DF16}" dt="2023-05-05T06:43:17.974" v="2878"/>
          <ac:spMkLst>
            <pc:docMk/>
            <pc:sldMk cId="2097558937" sldId="2220"/>
            <ac:spMk id="58" creationId="{5301656E-35CE-A14C-6DA0-161160B79EE6}"/>
          </ac:spMkLst>
        </pc:spChg>
        <pc:cxnChg chg="add mod">
          <ac:chgData name="Aurelien Domont" userId="6da7715ce44349b3" providerId="LiveId" clId="{1A65848B-9F1B-4AD0-AD98-692A2614DF16}" dt="2023-05-05T06:43:17.974" v="2878"/>
          <ac:cxnSpMkLst>
            <pc:docMk/>
            <pc:sldMk cId="2097558937" sldId="2220"/>
            <ac:cxnSpMk id="59" creationId="{BCA503A8-23C2-A85B-BAF6-F8B10DC20CBD}"/>
          </ac:cxnSpMkLst>
        </pc:cxnChg>
        <pc:cxnChg chg="add mod">
          <ac:chgData name="Aurelien Domont" userId="6da7715ce44349b3" providerId="LiveId" clId="{1A65848B-9F1B-4AD0-AD98-692A2614DF16}" dt="2023-05-05T06:43:17.974" v="2878"/>
          <ac:cxnSpMkLst>
            <pc:docMk/>
            <pc:sldMk cId="2097558937" sldId="2220"/>
            <ac:cxnSpMk id="60" creationId="{3EFC021B-674A-10CF-E5C3-6BDD80224A46}"/>
          </ac:cxnSpMkLst>
        </pc:cxnChg>
        <pc:cxnChg chg="add mod">
          <ac:chgData name="Aurelien Domont" userId="6da7715ce44349b3" providerId="LiveId" clId="{1A65848B-9F1B-4AD0-AD98-692A2614DF16}" dt="2023-05-05T06:43:17.974" v="2878"/>
          <ac:cxnSpMkLst>
            <pc:docMk/>
            <pc:sldMk cId="2097558937" sldId="2220"/>
            <ac:cxnSpMk id="61" creationId="{D4A301AA-9863-A479-C783-F5339B4B31E1}"/>
          </ac:cxnSpMkLst>
        </pc:cxnChg>
      </pc:sldChg>
      <pc:sldChg chg="add del">
        <pc:chgData name="Aurelien Domont" userId="6da7715ce44349b3" providerId="LiveId" clId="{1A65848B-9F1B-4AD0-AD98-692A2614DF16}" dt="2023-05-05T06:28:14.146" v="2511" actId="47"/>
        <pc:sldMkLst>
          <pc:docMk/>
          <pc:sldMk cId="2159695117" sldId="2220"/>
        </pc:sldMkLst>
      </pc:sldChg>
      <pc:sldChg chg="delSp modSp add del mod">
        <pc:chgData name="Aurelien Domont" userId="6da7715ce44349b3" providerId="LiveId" clId="{1A65848B-9F1B-4AD0-AD98-692A2614DF16}" dt="2023-05-05T06:38:35.887" v="2738" actId="47"/>
        <pc:sldMkLst>
          <pc:docMk/>
          <pc:sldMk cId="2787907896" sldId="2221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787907896" sldId="2221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787907896" sldId="2221"/>
            <ac:spMk id="16" creationId="{6C2BB713-9637-4B9B-938F-E9768876782A}"/>
          </ac:spMkLst>
        </pc:spChg>
        <pc:spChg chg="del">
          <ac:chgData name="Aurelien Domont" userId="6da7715ce44349b3" providerId="LiveId" clId="{1A65848B-9F1B-4AD0-AD98-692A2614DF16}" dt="2023-05-05T06:32:18.965" v="2574" actId="478"/>
          <ac:spMkLst>
            <pc:docMk/>
            <pc:sldMk cId="2787907896" sldId="2221"/>
            <ac:spMk id="50" creationId="{9013EE3D-67FA-D155-A479-4D92DB833C65}"/>
          </ac:spMkLst>
        </pc:spChg>
        <pc:spChg chg="del">
          <ac:chgData name="Aurelien Domont" userId="6da7715ce44349b3" providerId="LiveId" clId="{1A65848B-9F1B-4AD0-AD98-692A2614DF16}" dt="2023-05-05T06:32:18.965" v="2574" actId="478"/>
          <ac:spMkLst>
            <pc:docMk/>
            <pc:sldMk cId="2787907896" sldId="2221"/>
            <ac:spMk id="51" creationId="{5217ED60-4006-38DE-91AE-EB16EA3BD43D}"/>
          </ac:spMkLst>
        </pc:spChg>
      </pc:sldChg>
      <pc:sldChg chg="addSp delSp modSp add del mod">
        <pc:chgData name="Aurelien Domont" userId="6da7715ce44349b3" providerId="LiveId" clId="{1A65848B-9F1B-4AD0-AD98-692A2614DF16}" dt="2023-05-05T06:50:01.295" v="3204" actId="47"/>
        <pc:sldMkLst>
          <pc:docMk/>
          <pc:sldMk cId="3074916498" sldId="2221"/>
        </pc:sldMkLst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2" creationId="{588BBF57-C661-F8B4-94A8-EE94E69ACB08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4" creationId="{EFEE5AC1-2771-6A3B-FB6D-C6188797417A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5" creationId="{38CD9377-602D-D303-7B42-BFBAB2AC2057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6" creationId="{C2B5A273-5E1D-FDD1-5E83-622B00CDC330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7" creationId="{D9A37C25-8D50-CCC7-5017-8699A9A85F60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8" creationId="{46C49D77-23CE-186E-8549-25C2615DE07A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9" creationId="{4E1D7A5D-0ECA-2CC3-62BF-744C1CEA026F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10" creationId="{F8A94089-8461-6CFF-DAB4-A14903EF814E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11" creationId="{B464C18D-3FDD-3D91-03C7-FF43E692CD49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12" creationId="{687EAFF8-A5AD-7B18-1BA3-90E36E5007BA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14" creationId="{482DEFB8-A92C-7D9F-2976-FBCF2FF831FC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15" creationId="{98B8586C-F539-5EDC-B5B8-AF473D1AE90B}"/>
          </ac:spMkLst>
        </pc:spChg>
        <pc:spChg chg="mod">
          <ac:chgData name="Aurelien Domont" userId="6da7715ce44349b3" providerId="LiveId" clId="{1A65848B-9F1B-4AD0-AD98-692A2614DF16}" dt="2023-05-05T06:44:23.145" v="2926" actId="20577"/>
          <ac:spMkLst>
            <pc:docMk/>
            <pc:sldMk cId="3074916498" sldId="2221"/>
            <ac:spMk id="16" creationId="{6C2BB713-9637-4B9B-938F-E9768876782A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17" creationId="{B885463E-1FBB-1F86-75B3-14868AC81DF1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18" creationId="{75EDA080-031D-FB74-E337-B1D37B0A2E0E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19" creationId="{06F6C47B-8B10-4F17-F7A9-0BF5D12C31E7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20" creationId="{39CC87E1-497D-4441-01EB-D96778F2F7FC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21" creationId="{81D3975C-87E4-A097-D3A8-75B5A3CCFEB4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22" creationId="{FBDAB95D-D9C8-1FC6-5FE5-27B96B648707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23" creationId="{898B4881-848E-751C-FF14-5D72F8869F68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24" creationId="{134E92A3-486E-B8E4-8489-35EACFE9F816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25" creationId="{51EDFBDB-BF6C-46C1-EFE2-392457788EC6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26" creationId="{80CB46DB-4CBD-5E88-C2BF-A11E66AD15D5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27" creationId="{604C42E7-05A9-FC0D-F24F-4089A87C1AEC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28" creationId="{93B9BFF3-78F2-0A8B-6392-4A507F46B38A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29" creationId="{A9493EA5-4BA4-FE2B-E838-D3847D0BCDC7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30" creationId="{2A968D9D-62A5-E4B8-764D-BA38BE40D7C1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31" creationId="{9411A4BB-C042-22FA-9858-EE07FCA3B3E4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32" creationId="{1B1B026E-F2EC-0FFA-7B4E-6F107333EA1C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33" creationId="{C4E74528-6A66-4F07-AD8D-A318C8B255F3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34" creationId="{D78C8D8E-8BF0-310F-58B6-395F5F09017A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35" creationId="{D450EA42-D400-AC6B-04D9-3885853E3806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36" creationId="{B620C6BF-B7B5-EDF6-7F2B-95751AE6545D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37" creationId="{0306DB1E-CECF-03F6-D197-8A66DAB48FFE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38" creationId="{3D7C7708-F071-5165-E846-838BCE935AA1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39" creationId="{5043454F-84E3-EA6D-12E0-BB1F98719407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40" creationId="{D9BC8909-AE45-1B4F-4588-434E069602D4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41" creationId="{9DC41D2A-36C2-B26C-5D56-D99DD3EB85E3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42" creationId="{E02F7802-4E9E-6EE1-184A-7828C1935EEF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43" creationId="{605E3139-FA0C-7BF6-895B-8E3B1A6EFF1D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44" creationId="{46196751-DB28-BE0F-E5E1-465F9F7D9338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45" creationId="{1B27EE5E-4A55-EE7A-8271-8AB2DF17E685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46" creationId="{FE74E7AC-81A8-AA43-7F3E-3016AB84E21A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47" creationId="{7AAE7B3A-A3DF-6EB9-EAC8-3600D4A1F6BA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48" creationId="{B8FE38BA-834E-497A-04F5-00343758C785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49" creationId="{7C6B7A89-6252-C033-99C1-1F08A6D36EE9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50" creationId="{4CCF0568-48C0-2BF3-459B-D04BEA40471D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51" creationId="{091B2A5D-DF5C-D761-89CC-AC32EE3ED451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52" creationId="{9C4A831D-2037-FFEE-88D9-49189B0132FC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53" creationId="{3C9D85E5-A972-4D39-6772-37C95DBF5426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54" creationId="{6C722358-2E5F-6A92-195D-6FC86670EDCF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55" creationId="{2116FF81-9748-0A75-B06A-07BDCA23A728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56" creationId="{268DF512-C4B2-0966-6EE7-4E5802C76957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57" creationId="{7D0B6837-CE8E-EC2D-109C-4D51C06F5A16}"/>
          </ac:spMkLst>
        </pc:spChg>
        <pc:spChg chg="del">
          <ac:chgData name="Aurelien Domont" userId="6da7715ce44349b3" providerId="LiveId" clId="{1A65848B-9F1B-4AD0-AD98-692A2614DF16}" dt="2023-05-05T06:43:27.152" v="2880" actId="478"/>
          <ac:spMkLst>
            <pc:docMk/>
            <pc:sldMk cId="3074916498" sldId="2221"/>
            <ac:spMk id="58" creationId="{5301656E-35CE-A14C-6DA0-161160B79EE6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62" creationId="{417934B2-C1F3-D02D-1D61-1885BC4F58E7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63" creationId="{6ECB259C-90AB-7741-318F-95389D5E4442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64" creationId="{AE4A47D5-4FF6-7D46-DA09-EDCA0B39CBE8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65" creationId="{2DEF5E3F-117E-9415-E117-8FFCAEC875E6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66" creationId="{F85354D8-3E66-3C9A-A00E-ADDAE252A643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67" creationId="{3483C514-1549-8447-2229-ACC4563737FE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68" creationId="{57302020-787E-458A-DD3A-2408E673AD0D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69" creationId="{8DA70997-D9C6-01DC-578E-85E099FD3701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70" creationId="{D831B484-636E-0C43-027D-F47D640F1861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71" creationId="{DAA95A8A-409B-3934-1E4B-CBEC58D8ADD9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72" creationId="{E12D4E89-FC92-F0C5-3264-A845352136DC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73" creationId="{9F90E3B5-2526-9876-59DB-45F0E4016252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74" creationId="{982D313B-6F89-14F6-510B-020BC98B61D2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75" creationId="{4015FDB5-BCDF-960E-D28E-A652FA3BA812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76" creationId="{AE15CB21-A212-1A34-C51C-A079259A3EA3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77" creationId="{BF171AEE-11D0-86E9-CB4E-8D0605CA98BD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78" creationId="{0FF719BF-0744-220C-36A5-04A91AF89816}"/>
          </ac:spMkLst>
        </pc:spChg>
        <pc:spChg chg="add del mod">
          <ac:chgData name="Aurelien Domont" userId="6da7715ce44349b3" providerId="LiveId" clId="{1A65848B-9F1B-4AD0-AD98-692A2614DF16}" dt="2023-05-05T06:49:38.170" v="3175" actId="21"/>
          <ac:spMkLst>
            <pc:docMk/>
            <pc:sldMk cId="3074916498" sldId="2221"/>
            <ac:spMk id="79" creationId="{ADD98C78-CE57-9EC1-B43C-C0C2B7579BF3}"/>
          </ac:spMkLst>
        </pc:spChg>
        <pc:cxnChg chg="del mod">
          <ac:chgData name="Aurelien Domont" userId="6da7715ce44349b3" providerId="LiveId" clId="{1A65848B-9F1B-4AD0-AD98-692A2614DF16}" dt="2023-05-05T06:43:27.152" v="2880" actId="478"/>
          <ac:cxnSpMkLst>
            <pc:docMk/>
            <pc:sldMk cId="3074916498" sldId="2221"/>
            <ac:cxnSpMk id="59" creationId="{BCA503A8-23C2-A85B-BAF6-F8B10DC20CBD}"/>
          </ac:cxnSpMkLst>
        </pc:cxnChg>
        <pc:cxnChg chg="del mod">
          <ac:chgData name="Aurelien Domont" userId="6da7715ce44349b3" providerId="LiveId" clId="{1A65848B-9F1B-4AD0-AD98-692A2614DF16}" dt="2023-05-05T06:43:27.152" v="2880" actId="478"/>
          <ac:cxnSpMkLst>
            <pc:docMk/>
            <pc:sldMk cId="3074916498" sldId="2221"/>
            <ac:cxnSpMk id="60" creationId="{3EFC021B-674A-10CF-E5C3-6BDD80224A46}"/>
          </ac:cxnSpMkLst>
        </pc:cxnChg>
        <pc:cxnChg chg="del mod">
          <ac:chgData name="Aurelien Domont" userId="6da7715ce44349b3" providerId="LiveId" clId="{1A65848B-9F1B-4AD0-AD98-692A2614DF16}" dt="2023-05-05T06:43:27.152" v="2880" actId="478"/>
          <ac:cxnSpMkLst>
            <pc:docMk/>
            <pc:sldMk cId="3074916498" sldId="2221"/>
            <ac:cxnSpMk id="61" creationId="{D4A301AA-9863-A479-C783-F5339B4B31E1}"/>
          </ac:cxnSpMkLst>
        </pc:cxnChg>
        <pc:cxnChg chg="add del mod">
          <ac:chgData name="Aurelien Domont" userId="6da7715ce44349b3" providerId="LiveId" clId="{1A65848B-9F1B-4AD0-AD98-692A2614DF16}" dt="2023-05-05T06:49:38.170" v="3175" actId="21"/>
          <ac:cxnSpMkLst>
            <pc:docMk/>
            <pc:sldMk cId="3074916498" sldId="2221"/>
            <ac:cxnSpMk id="80" creationId="{BA603012-CF80-D372-E0FC-A0AA49E51E88}"/>
          </ac:cxnSpMkLst>
        </pc:cxnChg>
        <pc:cxnChg chg="add del mod">
          <ac:chgData name="Aurelien Domont" userId="6da7715ce44349b3" providerId="LiveId" clId="{1A65848B-9F1B-4AD0-AD98-692A2614DF16}" dt="2023-05-05T06:49:38.170" v="3175" actId="21"/>
          <ac:cxnSpMkLst>
            <pc:docMk/>
            <pc:sldMk cId="3074916498" sldId="2221"/>
            <ac:cxnSpMk id="81" creationId="{C685F20F-98A1-1CC1-0170-33A80C69023E}"/>
          </ac:cxnSpMkLst>
        </pc:cxnChg>
        <pc:cxnChg chg="add del mod">
          <ac:chgData name="Aurelien Domont" userId="6da7715ce44349b3" providerId="LiveId" clId="{1A65848B-9F1B-4AD0-AD98-692A2614DF16}" dt="2023-05-05T06:49:38.170" v="3175" actId="21"/>
          <ac:cxnSpMkLst>
            <pc:docMk/>
            <pc:sldMk cId="3074916498" sldId="2221"/>
            <ac:cxnSpMk id="82" creationId="{189F1FEB-6851-5266-296D-BE5481218969}"/>
          </ac:cxnSpMkLst>
        </pc:cxnChg>
        <pc:cxnChg chg="add del mod">
          <ac:chgData name="Aurelien Domont" userId="6da7715ce44349b3" providerId="LiveId" clId="{1A65848B-9F1B-4AD0-AD98-692A2614DF16}" dt="2023-05-05T06:49:38.170" v="3175" actId="21"/>
          <ac:cxnSpMkLst>
            <pc:docMk/>
            <pc:sldMk cId="3074916498" sldId="2221"/>
            <ac:cxnSpMk id="83" creationId="{3BAEA123-E1E2-895F-22C8-033998175F97}"/>
          </ac:cxnSpMkLst>
        </pc:cxnChg>
        <pc:cxnChg chg="add del mod">
          <ac:chgData name="Aurelien Domont" userId="6da7715ce44349b3" providerId="LiveId" clId="{1A65848B-9F1B-4AD0-AD98-692A2614DF16}" dt="2023-05-05T06:49:38.170" v="3175" actId="21"/>
          <ac:cxnSpMkLst>
            <pc:docMk/>
            <pc:sldMk cId="3074916498" sldId="2221"/>
            <ac:cxnSpMk id="84" creationId="{15361AC8-4F5A-78C3-A836-6B79F0E9121B}"/>
          </ac:cxnSpMkLst>
        </pc:cxnChg>
        <pc:cxnChg chg="add del mod">
          <ac:chgData name="Aurelien Domont" userId="6da7715ce44349b3" providerId="LiveId" clId="{1A65848B-9F1B-4AD0-AD98-692A2614DF16}" dt="2023-05-05T06:49:38.170" v="3175" actId="21"/>
          <ac:cxnSpMkLst>
            <pc:docMk/>
            <pc:sldMk cId="3074916498" sldId="2221"/>
            <ac:cxnSpMk id="85" creationId="{567219B6-CE9C-FF62-74C0-B26CFBC7183E}"/>
          </ac:cxnSpMkLst>
        </pc:cxnChg>
        <pc:cxnChg chg="add del mod">
          <ac:chgData name="Aurelien Domont" userId="6da7715ce44349b3" providerId="LiveId" clId="{1A65848B-9F1B-4AD0-AD98-692A2614DF16}" dt="2023-05-05T06:49:38.170" v="3175" actId="21"/>
          <ac:cxnSpMkLst>
            <pc:docMk/>
            <pc:sldMk cId="3074916498" sldId="2221"/>
            <ac:cxnSpMk id="86" creationId="{D9B80617-5C35-58F8-2949-F91C2CAD4D2F}"/>
          </ac:cxnSpMkLst>
        </pc:cxnChg>
        <pc:cxnChg chg="add del mod">
          <ac:chgData name="Aurelien Domont" userId="6da7715ce44349b3" providerId="LiveId" clId="{1A65848B-9F1B-4AD0-AD98-692A2614DF16}" dt="2023-05-05T06:49:38.170" v="3175" actId="21"/>
          <ac:cxnSpMkLst>
            <pc:docMk/>
            <pc:sldMk cId="3074916498" sldId="2221"/>
            <ac:cxnSpMk id="87" creationId="{D1D06959-5F45-D572-92ED-98D473602005}"/>
          </ac:cxnSpMkLst>
        </pc:cxnChg>
        <pc:cxnChg chg="add del mod">
          <ac:chgData name="Aurelien Domont" userId="6da7715ce44349b3" providerId="LiveId" clId="{1A65848B-9F1B-4AD0-AD98-692A2614DF16}" dt="2023-05-05T06:49:38.170" v="3175" actId="21"/>
          <ac:cxnSpMkLst>
            <pc:docMk/>
            <pc:sldMk cId="3074916498" sldId="2221"/>
            <ac:cxnSpMk id="88" creationId="{5143F5CA-C300-C54F-41AF-73E7437BF60B}"/>
          </ac:cxnSpMkLst>
        </pc:cxnChg>
        <pc:cxnChg chg="add del mod">
          <ac:chgData name="Aurelien Domont" userId="6da7715ce44349b3" providerId="LiveId" clId="{1A65848B-9F1B-4AD0-AD98-692A2614DF16}" dt="2023-05-05T06:49:38.170" v="3175" actId="21"/>
          <ac:cxnSpMkLst>
            <pc:docMk/>
            <pc:sldMk cId="3074916498" sldId="2221"/>
            <ac:cxnSpMk id="89" creationId="{2B960C61-11E4-9AC8-72BC-211DD9EC618E}"/>
          </ac:cxnSpMkLst>
        </pc:cxnChg>
        <pc:cxnChg chg="add del mod">
          <ac:chgData name="Aurelien Domont" userId="6da7715ce44349b3" providerId="LiveId" clId="{1A65848B-9F1B-4AD0-AD98-692A2614DF16}" dt="2023-05-05T06:49:38.170" v="3175" actId="21"/>
          <ac:cxnSpMkLst>
            <pc:docMk/>
            <pc:sldMk cId="3074916498" sldId="2221"/>
            <ac:cxnSpMk id="90" creationId="{58DC4D14-A1DF-88E3-F18E-40AA499A2853}"/>
          </ac:cxnSpMkLst>
        </pc:cxnChg>
        <pc:cxnChg chg="add del mod">
          <ac:chgData name="Aurelien Domont" userId="6da7715ce44349b3" providerId="LiveId" clId="{1A65848B-9F1B-4AD0-AD98-692A2614DF16}" dt="2023-05-05T06:49:38.170" v="3175" actId="21"/>
          <ac:cxnSpMkLst>
            <pc:docMk/>
            <pc:sldMk cId="3074916498" sldId="2221"/>
            <ac:cxnSpMk id="91" creationId="{9F8324AB-7B02-E0AD-FBF5-C756C11C0F63}"/>
          </ac:cxnSpMkLst>
        </pc:cxnChg>
        <pc:cxnChg chg="add del mod">
          <ac:chgData name="Aurelien Domont" userId="6da7715ce44349b3" providerId="LiveId" clId="{1A65848B-9F1B-4AD0-AD98-692A2614DF16}" dt="2023-05-05T06:49:38.170" v="3175" actId="21"/>
          <ac:cxnSpMkLst>
            <pc:docMk/>
            <pc:sldMk cId="3074916498" sldId="2221"/>
            <ac:cxnSpMk id="92" creationId="{6D1DA567-62FF-E78A-8BAA-1E8E2A696B34}"/>
          </ac:cxnSpMkLst>
        </pc:cxnChg>
      </pc:sldChg>
      <pc:sldChg chg="modSp add del">
        <pc:chgData name="Aurelien Domont" userId="6da7715ce44349b3" providerId="LiveId" clId="{1A65848B-9F1B-4AD0-AD98-692A2614DF16}" dt="2023-05-05T06:38:35.887" v="2738" actId="47"/>
        <pc:sldMkLst>
          <pc:docMk/>
          <pc:sldMk cId="624237666" sldId="2222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624237666" sldId="2222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624237666" sldId="2222"/>
            <ac:spMk id="16" creationId="{6C2BB713-9637-4B9B-938F-E9768876782A}"/>
          </ac:spMkLst>
        </pc:spChg>
      </pc:sldChg>
      <pc:sldChg chg="addSp delSp modSp add mod">
        <pc:chgData name="Aurelien Domont" userId="6da7715ce44349b3" providerId="LiveId" clId="{1A65848B-9F1B-4AD0-AD98-692A2614DF16}" dt="2023-05-05T06:46:30.502" v="2993"/>
        <pc:sldMkLst>
          <pc:docMk/>
          <pc:sldMk cId="3590846903" sldId="2222"/>
        </pc:sldMkLst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2" creationId="{705B2F9A-0CC2-1A04-1591-4F92650DE1A0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4" creationId="{2E7C2C16-1102-BA08-6745-C9C487E0AEB8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5" creationId="{715C938B-09B2-FA4E-4348-15BA21831143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7" creationId="{2F028624-04FF-2798-6ADD-D9AFFEFBE30B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8" creationId="{95EF6B71-21E6-5419-C611-4DB18B495031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9" creationId="{5570BD1A-4992-BF23-4DB2-DECF83CBA167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10" creationId="{DA09983E-DAB6-D790-81AE-261956D08694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11" creationId="{AB247AC3-2E7A-4CA1-2780-871AC7D977F8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12" creationId="{5926FB24-916A-61D5-7972-C21158723603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14" creationId="{7ABBC8D6-4349-F465-7209-812581166E17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15" creationId="{9A60A24A-A998-D579-E46C-4397D5A9C432}"/>
          </ac:spMkLst>
        </pc:spChg>
        <pc:spChg chg="mod">
          <ac:chgData name="Aurelien Domont" userId="6da7715ce44349b3" providerId="LiveId" clId="{1A65848B-9F1B-4AD0-AD98-692A2614DF16}" dt="2023-05-05T06:45:40.139" v="2992" actId="20577"/>
          <ac:spMkLst>
            <pc:docMk/>
            <pc:sldMk cId="3590846903" sldId="2222"/>
            <ac:spMk id="16" creationId="{6C2BB713-9637-4B9B-938F-E9768876782A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17" creationId="{5EAB1704-779F-6DE5-D2AE-CA24B931ED03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18" creationId="{F758C308-CEEB-89CE-E70C-79B169510408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19" creationId="{CAF5BB3A-3EE3-68C2-B5B6-B05A5209A5FA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20" creationId="{436542ED-3F4B-EC77-E65A-3654FDC48E53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21" creationId="{BFEAFA23-5EAF-47C3-7688-E0E3CC3B687F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22" creationId="{103F9119-9F2C-3E59-41E8-F457FB6793B8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23" creationId="{C6353779-E9D7-89C6-956A-F7FB4DD80076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24" creationId="{D7D73E7F-38EB-63A1-21DA-D71C855D4016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25" creationId="{8E732382-E895-AF45-9301-FBCC01346988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26" creationId="{2E627E2C-FDE6-6DD6-A825-024CBA546D85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27" creationId="{CE4ECC72-491D-2B62-5A19-F0D6148DA471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28" creationId="{8A1A5489-DA48-AA30-61B8-5735B169DF50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29" creationId="{039CC9D2-D7F7-F846-5186-64F7A45D1CA1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30" creationId="{6E92B125-A568-4791-62C6-86011FB060E8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31" creationId="{AE7FD9F9-FC73-EFCD-6ECF-9778360D65DA}"/>
          </ac:spMkLst>
        </pc:spChg>
        <pc:spChg chg="add mod">
          <ac:chgData name="Aurelien Domont" userId="6da7715ce44349b3" providerId="LiveId" clId="{1A65848B-9F1B-4AD0-AD98-692A2614DF16}" dt="2023-05-05T06:46:30.502" v="2993"/>
          <ac:spMkLst>
            <pc:docMk/>
            <pc:sldMk cId="3590846903" sldId="2222"/>
            <ac:spMk id="32" creationId="{2E0AE52A-745E-C2BB-F9DD-66E83CC519BF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34" creationId="{A0CC5CCF-1F63-EBD7-C6A7-13DF617B15C2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35" creationId="{757458C6-45B9-89E5-0122-3249D0964E4D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36" creationId="{A810A1F2-BCDF-14FF-EB18-E75D5F5FC587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37" creationId="{C13E7937-6AFB-C061-B8FC-CFEE8B9AF782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44" creationId="{7B9D2962-CC5F-F479-16D9-C3EDEF564F66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52" creationId="{AAF0D362-5670-0C0B-B0CF-AE083D24AEF7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53" creationId="{94411B58-067D-EEEF-2D3B-BE967C28DD0D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54" creationId="{4F8E3D5E-679A-5082-3AB3-1F38E242D2E3}"/>
          </ac:spMkLst>
        </pc:spChg>
        <pc:spChg chg="del">
          <ac:chgData name="Aurelien Domont" userId="6da7715ce44349b3" providerId="LiveId" clId="{1A65848B-9F1B-4AD0-AD98-692A2614DF16}" dt="2023-05-05T06:45:35.306" v="2990" actId="478"/>
          <ac:spMkLst>
            <pc:docMk/>
            <pc:sldMk cId="3590846903" sldId="2222"/>
            <ac:spMk id="55" creationId="{4B816A14-C00E-DE04-DB71-4FD723630594}"/>
          </ac:spMkLst>
        </pc:spChg>
        <pc:cxnChg chg="add mod">
          <ac:chgData name="Aurelien Domont" userId="6da7715ce44349b3" providerId="LiveId" clId="{1A65848B-9F1B-4AD0-AD98-692A2614DF16}" dt="2023-05-05T06:46:30.502" v="2993"/>
          <ac:cxnSpMkLst>
            <pc:docMk/>
            <pc:sldMk cId="3590846903" sldId="2222"/>
            <ac:cxnSpMk id="6" creationId="{74973BDE-9E24-3983-7AF3-F37B11C29C7C}"/>
          </ac:cxnSpMkLst>
        </pc:cxnChg>
      </pc:sldChg>
      <pc:sldChg chg="addSp delSp modSp add mod">
        <pc:chgData name="Aurelien Domont" userId="6da7715ce44349b3" providerId="LiveId" clId="{1A65848B-9F1B-4AD0-AD98-692A2614DF16}" dt="2023-05-05T06:53:28.671" v="3325" actId="20577"/>
        <pc:sldMkLst>
          <pc:docMk/>
          <pc:sldMk cId="1039551658" sldId="2223"/>
        </pc:sldMkLst>
        <pc:spChg chg="del">
          <ac:chgData name="Aurelien Domont" userId="6da7715ce44349b3" providerId="LiveId" clId="{1A65848B-9F1B-4AD0-AD98-692A2614DF16}" dt="2023-05-05T06:49:33.083" v="3174" actId="478"/>
          <ac:spMkLst>
            <pc:docMk/>
            <pc:sldMk cId="1039551658" sldId="2223"/>
            <ac:spMk id="2" creationId="{588BBF57-C661-F8B4-94A8-EE94E69ACB08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4" creationId="{EFEE5AC1-2771-6A3B-FB6D-C6188797417A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5" creationId="{2AA26C21-C361-3EB9-4573-372E5AEA18FB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6" creationId="{5D2A63B4-FC51-BC9D-B57A-5049FDC48FA2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7" creationId="{D9A37C25-8D50-CCC7-5017-8699A9A85F60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8" creationId="{46C49D77-23CE-186E-8549-25C2615DE07A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9" creationId="{B34B57AB-020B-D071-0F60-C039A7B8885C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10" creationId="{C08800EE-6E5B-3CC5-154D-85E56F160A14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11" creationId="{4DC4564C-2584-B4F2-084E-0BB64BDC39F3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12" creationId="{687EAFF8-A5AD-7B18-1BA3-90E36E5007BA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14" creationId="{39F3838F-1C78-135E-3DA9-EEE12498C464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15" creationId="{8B5F8284-E99E-6196-D66E-6E244CD9EC78}"/>
          </ac:spMkLst>
        </pc:spChg>
        <pc:spChg chg="mod">
          <ac:chgData name="Aurelien Domont" userId="6da7715ce44349b3" providerId="LiveId" clId="{1A65848B-9F1B-4AD0-AD98-692A2614DF16}" dt="2023-05-05T06:53:28.671" v="3325" actId="20577"/>
          <ac:spMkLst>
            <pc:docMk/>
            <pc:sldMk cId="1039551658" sldId="2223"/>
            <ac:spMk id="16" creationId="{6C2BB713-9637-4B9B-938F-E9768876782A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17" creationId="{83FAF5F3-1FA8-8127-A726-B21D5DDEA974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18" creationId="{56813EA4-AA29-8147-FAD6-4A6CB9122F21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19" creationId="{76374FA8-F233-CAB1-257F-27832EED9E6B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20" creationId="{39CC87E1-497D-4441-01EB-D96778F2F7FC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21" creationId="{81D3975C-87E4-A097-D3A8-75B5A3CCFEB4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22" creationId="{FBDAB95D-D9C8-1FC6-5FE5-27B96B648707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23" creationId="{20E41234-0106-5032-B815-0E0D279CF6DC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24" creationId="{134E92A3-486E-B8E4-8489-35EACFE9F816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25" creationId="{51EDFBDB-BF6C-46C1-EFE2-392457788EC6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26" creationId="{80CB46DB-4CBD-5E88-C2BF-A11E66AD15D5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27" creationId="{604C42E7-05A9-FC0D-F24F-4089A87C1AEC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28" creationId="{93B9BFF3-78F2-0A8B-6392-4A507F46B38A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29" creationId="{A9493EA5-4BA4-FE2B-E838-D3847D0BCDC7}"/>
          </ac:spMkLst>
        </pc:spChg>
        <pc:spChg chg="del">
          <ac:chgData name="Aurelien Domont" userId="6da7715ce44349b3" providerId="LiveId" clId="{1A65848B-9F1B-4AD0-AD98-692A2614DF16}" dt="2023-05-05T06:49:33.083" v="3174" actId="478"/>
          <ac:spMkLst>
            <pc:docMk/>
            <pc:sldMk cId="1039551658" sldId="2223"/>
            <ac:spMk id="30" creationId="{2A968D9D-62A5-E4B8-764D-BA38BE40D7C1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31" creationId="{9411A4BB-C042-22FA-9858-EE07FCA3B3E4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32" creationId="{1B1B026E-F2EC-0FFA-7B4E-6F107333EA1C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33" creationId="{C4E74528-6A66-4F07-AD8D-A318C8B255F3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34" creationId="{57B85430-AD30-D806-40D2-CBA36A7475E8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35" creationId="{EDE60E49-7E11-CF21-957E-C0D84B7D914A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36" creationId="{C60DD090-F19E-BFC7-FF1E-441EAE9CBEA9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37" creationId="{BB072660-2A07-9DDB-ADB2-225B5EDC6505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38" creationId="{3D7C7708-F071-5165-E846-838BCE935AA1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39" creationId="{5043454F-84E3-EA6D-12E0-BB1F98719407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40" creationId="{D9BC8909-AE45-1B4F-4588-434E069602D4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41" creationId="{9DC41D2A-36C2-B26C-5D56-D99DD3EB85E3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42" creationId="{E02F7802-4E9E-6EE1-184A-7828C1935EEF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43" creationId="{605E3139-FA0C-7BF6-895B-8E3B1A6EFF1D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44" creationId="{2CF812E2-629D-3974-4245-09E04D79BBE3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45" creationId="{1B27EE5E-4A55-EE7A-8271-8AB2DF17E685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46" creationId="{FE74E7AC-81A8-AA43-7F3E-3016AB84E21A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47" creationId="{7AAE7B3A-A3DF-6EB9-EAC8-3600D4A1F6BA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48" creationId="{B8FE38BA-834E-497A-04F5-00343758C785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49" creationId="{7C6B7A89-6252-C033-99C1-1F08A6D36EE9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50" creationId="{4CCF0568-48C0-2BF3-459B-D04BEA40471D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51" creationId="{091B2A5D-DF5C-D761-89CC-AC32EE3ED451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52" creationId="{281D2D43-4CA3-7DEE-7153-D410672ACCBA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53" creationId="{FD07220C-F6BD-B4A1-D467-F265A424CCCB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54" creationId="{AEB9F30A-55D5-D15C-B811-456DBA7D03DA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55" creationId="{A5B43E58-46AF-7A95-7477-5B1ED4F4E47A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56" creationId="{268DF512-C4B2-0966-6EE7-4E5802C76957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57" creationId="{7D0B6837-CE8E-EC2D-109C-4D51C06F5A16}"/>
          </ac:spMkLst>
        </pc:spChg>
        <pc:spChg chg="del">
          <ac:chgData name="Aurelien Domont" userId="6da7715ce44349b3" providerId="LiveId" clId="{1A65848B-9F1B-4AD0-AD98-692A2614DF16}" dt="2023-05-05T06:49:31.681" v="3173" actId="478"/>
          <ac:spMkLst>
            <pc:docMk/>
            <pc:sldMk cId="1039551658" sldId="2223"/>
            <ac:spMk id="58" creationId="{5301656E-35CE-A14C-6DA0-161160B79EE6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62" creationId="{1787DFEE-57AC-2B50-5212-C815054ABF6C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63" creationId="{AC202774-7C4B-C272-9143-DF1933E02448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64" creationId="{6B9E4013-FBF0-0582-91A5-56DFC1BDE7EA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65" creationId="{D8E2A5AD-7B30-B572-9188-C93767F764D8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66" creationId="{49056DA2-5CFF-FF5A-3145-F39FDB73B0C5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67" creationId="{D8CD9860-F309-54EB-AE57-3732BA20D19D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68" creationId="{A19F9936-242E-05AB-E8B4-15CCAED48CC1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69" creationId="{CDD2FEAB-87B3-35FF-54D3-2580BB29D58F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70" creationId="{609E4AD9-2BE3-22A5-ED5E-E5A880AA265C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71" creationId="{9161627A-A367-A725-E398-B1F633ADDFE8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72" creationId="{029AA179-2FF3-2381-E075-AB89452F5316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73" creationId="{BA14489C-09F5-4325-A646-2F3A6B6512A4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74" creationId="{FF3805C6-135A-36F1-E89D-53199C2A3844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75" creationId="{4EB2E1B1-5488-E9F8-B7D4-78FE0075908B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76" creationId="{6D8F1C6E-9E60-3E75-6D36-E02C29D1FF6D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77" creationId="{117FDA45-BE1D-0DBD-C0BF-BA17775E1086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78" creationId="{077AE37D-881A-9F3F-2F48-57F2E7423C28}"/>
          </ac:spMkLst>
        </pc:spChg>
        <pc:spChg chg="add mod">
          <ac:chgData name="Aurelien Domont" userId="6da7715ce44349b3" providerId="LiveId" clId="{1A65848B-9F1B-4AD0-AD98-692A2614DF16}" dt="2023-05-05T06:49:39.537" v="3176"/>
          <ac:spMkLst>
            <pc:docMk/>
            <pc:sldMk cId="1039551658" sldId="2223"/>
            <ac:spMk id="79" creationId="{BC444D67-87A7-4261-E5F8-CAACCBF078C0}"/>
          </ac:spMkLst>
        </pc:spChg>
        <pc:cxnChg chg="del mod">
          <ac:chgData name="Aurelien Domont" userId="6da7715ce44349b3" providerId="LiveId" clId="{1A65848B-9F1B-4AD0-AD98-692A2614DF16}" dt="2023-05-05T06:49:31.681" v="3173" actId="478"/>
          <ac:cxnSpMkLst>
            <pc:docMk/>
            <pc:sldMk cId="1039551658" sldId="2223"/>
            <ac:cxnSpMk id="59" creationId="{BCA503A8-23C2-A85B-BAF6-F8B10DC20CBD}"/>
          </ac:cxnSpMkLst>
        </pc:cxnChg>
        <pc:cxnChg chg="del mod">
          <ac:chgData name="Aurelien Domont" userId="6da7715ce44349b3" providerId="LiveId" clId="{1A65848B-9F1B-4AD0-AD98-692A2614DF16}" dt="2023-05-05T06:49:31.681" v="3173" actId="478"/>
          <ac:cxnSpMkLst>
            <pc:docMk/>
            <pc:sldMk cId="1039551658" sldId="2223"/>
            <ac:cxnSpMk id="60" creationId="{3EFC021B-674A-10CF-E5C3-6BDD80224A46}"/>
          </ac:cxnSpMkLst>
        </pc:cxnChg>
        <pc:cxnChg chg="del mod">
          <ac:chgData name="Aurelien Domont" userId="6da7715ce44349b3" providerId="LiveId" clId="{1A65848B-9F1B-4AD0-AD98-692A2614DF16}" dt="2023-05-05T06:49:31.681" v="3173" actId="478"/>
          <ac:cxnSpMkLst>
            <pc:docMk/>
            <pc:sldMk cId="1039551658" sldId="2223"/>
            <ac:cxnSpMk id="61" creationId="{D4A301AA-9863-A479-C783-F5339B4B31E1}"/>
          </ac:cxnSpMkLst>
        </pc:cxnChg>
        <pc:cxnChg chg="add mod">
          <ac:chgData name="Aurelien Domont" userId="6da7715ce44349b3" providerId="LiveId" clId="{1A65848B-9F1B-4AD0-AD98-692A2614DF16}" dt="2023-05-05T06:49:39.537" v="3176"/>
          <ac:cxnSpMkLst>
            <pc:docMk/>
            <pc:sldMk cId="1039551658" sldId="2223"/>
            <ac:cxnSpMk id="80" creationId="{4547DD3A-A7D9-53B3-AFEF-B82A8EF7CEBE}"/>
          </ac:cxnSpMkLst>
        </pc:cxnChg>
        <pc:cxnChg chg="add mod">
          <ac:chgData name="Aurelien Domont" userId="6da7715ce44349b3" providerId="LiveId" clId="{1A65848B-9F1B-4AD0-AD98-692A2614DF16}" dt="2023-05-05T06:49:39.537" v="3176"/>
          <ac:cxnSpMkLst>
            <pc:docMk/>
            <pc:sldMk cId="1039551658" sldId="2223"/>
            <ac:cxnSpMk id="81" creationId="{85373B63-AB81-F591-D92A-5E21A7FC527E}"/>
          </ac:cxnSpMkLst>
        </pc:cxnChg>
        <pc:cxnChg chg="add mod">
          <ac:chgData name="Aurelien Domont" userId="6da7715ce44349b3" providerId="LiveId" clId="{1A65848B-9F1B-4AD0-AD98-692A2614DF16}" dt="2023-05-05T06:49:39.537" v="3176"/>
          <ac:cxnSpMkLst>
            <pc:docMk/>
            <pc:sldMk cId="1039551658" sldId="2223"/>
            <ac:cxnSpMk id="82" creationId="{BA8C00A1-618C-819B-F6C0-66EC0D096069}"/>
          </ac:cxnSpMkLst>
        </pc:cxnChg>
        <pc:cxnChg chg="add mod">
          <ac:chgData name="Aurelien Domont" userId="6da7715ce44349b3" providerId="LiveId" clId="{1A65848B-9F1B-4AD0-AD98-692A2614DF16}" dt="2023-05-05T06:49:39.537" v="3176"/>
          <ac:cxnSpMkLst>
            <pc:docMk/>
            <pc:sldMk cId="1039551658" sldId="2223"/>
            <ac:cxnSpMk id="83" creationId="{B60F362E-FDCB-36E2-9BBA-4B4E617E90AE}"/>
          </ac:cxnSpMkLst>
        </pc:cxnChg>
        <pc:cxnChg chg="add mod">
          <ac:chgData name="Aurelien Domont" userId="6da7715ce44349b3" providerId="LiveId" clId="{1A65848B-9F1B-4AD0-AD98-692A2614DF16}" dt="2023-05-05T06:49:39.537" v="3176"/>
          <ac:cxnSpMkLst>
            <pc:docMk/>
            <pc:sldMk cId="1039551658" sldId="2223"/>
            <ac:cxnSpMk id="84" creationId="{DFD459F2-43FC-960A-8CEB-86C07B31C12E}"/>
          </ac:cxnSpMkLst>
        </pc:cxnChg>
        <pc:cxnChg chg="add mod">
          <ac:chgData name="Aurelien Domont" userId="6da7715ce44349b3" providerId="LiveId" clId="{1A65848B-9F1B-4AD0-AD98-692A2614DF16}" dt="2023-05-05T06:49:39.537" v="3176"/>
          <ac:cxnSpMkLst>
            <pc:docMk/>
            <pc:sldMk cId="1039551658" sldId="2223"/>
            <ac:cxnSpMk id="85" creationId="{FA192CBB-8C6B-C67A-F770-9C5CF1879026}"/>
          </ac:cxnSpMkLst>
        </pc:cxnChg>
        <pc:cxnChg chg="add mod">
          <ac:chgData name="Aurelien Domont" userId="6da7715ce44349b3" providerId="LiveId" clId="{1A65848B-9F1B-4AD0-AD98-692A2614DF16}" dt="2023-05-05T06:49:39.537" v="3176"/>
          <ac:cxnSpMkLst>
            <pc:docMk/>
            <pc:sldMk cId="1039551658" sldId="2223"/>
            <ac:cxnSpMk id="86" creationId="{D31924C9-A283-CD4F-AA7C-ACD8E54E16F7}"/>
          </ac:cxnSpMkLst>
        </pc:cxnChg>
        <pc:cxnChg chg="add mod">
          <ac:chgData name="Aurelien Domont" userId="6da7715ce44349b3" providerId="LiveId" clId="{1A65848B-9F1B-4AD0-AD98-692A2614DF16}" dt="2023-05-05T06:49:39.537" v="3176"/>
          <ac:cxnSpMkLst>
            <pc:docMk/>
            <pc:sldMk cId="1039551658" sldId="2223"/>
            <ac:cxnSpMk id="87" creationId="{3AF86B85-5FB3-EEDE-15DA-5E0BD56A7C1E}"/>
          </ac:cxnSpMkLst>
        </pc:cxnChg>
        <pc:cxnChg chg="add mod">
          <ac:chgData name="Aurelien Domont" userId="6da7715ce44349b3" providerId="LiveId" clId="{1A65848B-9F1B-4AD0-AD98-692A2614DF16}" dt="2023-05-05T06:49:39.537" v="3176"/>
          <ac:cxnSpMkLst>
            <pc:docMk/>
            <pc:sldMk cId="1039551658" sldId="2223"/>
            <ac:cxnSpMk id="88" creationId="{C706844B-CD64-3606-3860-C4B7DBD12AD5}"/>
          </ac:cxnSpMkLst>
        </pc:cxnChg>
        <pc:cxnChg chg="add mod">
          <ac:chgData name="Aurelien Domont" userId="6da7715ce44349b3" providerId="LiveId" clId="{1A65848B-9F1B-4AD0-AD98-692A2614DF16}" dt="2023-05-05T06:49:39.537" v="3176"/>
          <ac:cxnSpMkLst>
            <pc:docMk/>
            <pc:sldMk cId="1039551658" sldId="2223"/>
            <ac:cxnSpMk id="89" creationId="{84E6B535-7702-B4A4-58BA-E18D9E2B2600}"/>
          </ac:cxnSpMkLst>
        </pc:cxnChg>
        <pc:cxnChg chg="add mod">
          <ac:chgData name="Aurelien Domont" userId="6da7715ce44349b3" providerId="LiveId" clId="{1A65848B-9F1B-4AD0-AD98-692A2614DF16}" dt="2023-05-05T06:49:39.537" v="3176"/>
          <ac:cxnSpMkLst>
            <pc:docMk/>
            <pc:sldMk cId="1039551658" sldId="2223"/>
            <ac:cxnSpMk id="90" creationId="{D5A5CB3A-3639-7FE1-46AE-B214A5A71AAC}"/>
          </ac:cxnSpMkLst>
        </pc:cxnChg>
        <pc:cxnChg chg="add mod">
          <ac:chgData name="Aurelien Domont" userId="6da7715ce44349b3" providerId="LiveId" clId="{1A65848B-9F1B-4AD0-AD98-692A2614DF16}" dt="2023-05-05T06:49:39.537" v="3176"/>
          <ac:cxnSpMkLst>
            <pc:docMk/>
            <pc:sldMk cId="1039551658" sldId="2223"/>
            <ac:cxnSpMk id="91" creationId="{F3313614-5711-8208-B0D8-7A54D3C36F8B}"/>
          </ac:cxnSpMkLst>
        </pc:cxnChg>
        <pc:cxnChg chg="add mod">
          <ac:chgData name="Aurelien Domont" userId="6da7715ce44349b3" providerId="LiveId" clId="{1A65848B-9F1B-4AD0-AD98-692A2614DF16}" dt="2023-05-05T06:49:39.537" v="3176"/>
          <ac:cxnSpMkLst>
            <pc:docMk/>
            <pc:sldMk cId="1039551658" sldId="2223"/>
            <ac:cxnSpMk id="92" creationId="{57EA1AA0-E25F-DDC7-A4B8-63B0CEE45400}"/>
          </ac:cxnSpMkLst>
        </pc:cxnChg>
      </pc:sldChg>
      <pc:sldChg chg="modSp add del">
        <pc:chgData name="Aurelien Domont" userId="6da7715ce44349b3" providerId="LiveId" clId="{1A65848B-9F1B-4AD0-AD98-692A2614DF16}" dt="2023-05-05T06:38:35.887" v="2738" actId="47"/>
        <pc:sldMkLst>
          <pc:docMk/>
          <pc:sldMk cId="2968221230" sldId="2223"/>
        </pc:sldMkLst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968221230" sldId="2223"/>
            <ac:spMk id="3" creationId="{CE2529A3-BA97-486F-9E02-8DFAAA7D8D38}"/>
          </ac:spMkLst>
        </pc:spChg>
        <pc:spChg chg="mod">
          <ac:chgData name="Aurelien Domont" userId="6da7715ce44349b3" providerId="LiveId" clId="{1A65848B-9F1B-4AD0-AD98-692A2614DF16}" dt="2023-05-05T06:37:03.994" v="2731"/>
          <ac:spMkLst>
            <pc:docMk/>
            <pc:sldMk cId="2968221230" sldId="2223"/>
            <ac:spMk id="16" creationId="{6C2BB713-9637-4B9B-938F-E9768876782A}"/>
          </ac:spMkLst>
        </pc:spChg>
      </pc:sldChg>
      <pc:sldMasterChg chg="addSp modSldLayout">
        <pc:chgData name="Aurelien Domont" userId="6da7715ce44349b3" providerId="LiveId" clId="{1A65848B-9F1B-4AD0-AD98-692A2614DF16}" dt="2023-05-05T06:37:03.994" v="2731"/>
        <pc:sldMasterMkLst>
          <pc:docMk/>
          <pc:sldMasterMk cId="3480026145" sldId="2147483670"/>
        </pc:sldMasterMkLst>
        <pc:spChg chg="add">
          <ac:chgData name="Aurelien Domont" userId="6da7715ce44349b3" providerId="LiveId" clId="{1A65848B-9F1B-4AD0-AD98-692A2614DF16}" dt="2023-05-05T06:37:03.994" v="2731"/>
          <ac:spMkLst>
            <pc:docMk/>
            <pc:sldMasterMk cId="3480026145" sldId="2147483670"/>
            <ac:spMk id="10" creationId="{388F295C-9C57-0356-119D-1F2D6E610CA1}"/>
          </ac:spMkLst>
        </pc:spChg>
        <pc:spChg chg="add">
          <ac:chgData name="Aurelien Domont" userId="6da7715ce44349b3" providerId="LiveId" clId="{1A65848B-9F1B-4AD0-AD98-692A2614DF16}" dt="2023-05-05T06:37:03.994" v="2731"/>
          <ac:spMkLst>
            <pc:docMk/>
            <pc:sldMasterMk cId="3480026145" sldId="2147483670"/>
            <ac:spMk id="11" creationId="{A19245F7-4C1E-B61C-D250-B442AF1B938E}"/>
          </ac:spMkLst>
        </pc:spChg>
        <pc:graphicFrameChg chg="add">
          <ac:chgData name="Aurelien Domont" userId="6da7715ce44349b3" providerId="LiveId" clId="{1A65848B-9F1B-4AD0-AD98-692A2614DF16}" dt="2023-05-05T06:37:03.994" v="2731"/>
          <ac:graphicFrameMkLst>
            <pc:docMk/>
            <pc:sldMasterMk cId="3480026145" sldId="2147483670"/>
            <ac:graphicFrameMk id="4" creationId="{ECDF45FE-35B3-2ACA-750A-280401E6052D}"/>
          </ac:graphicFrameMkLst>
        </pc:graphicFrameChg>
        <pc:cxnChg chg="add">
          <ac:chgData name="Aurelien Domont" userId="6da7715ce44349b3" providerId="LiveId" clId="{1A65848B-9F1B-4AD0-AD98-692A2614DF16}" dt="2023-05-05T06:37:03.994" v="2731"/>
          <ac:cxnSpMkLst>
            <pc:docMk/>
            <pc:sldMasterMk cId="3480026145" sldId="2147483670"/>
            <ac:cxnSpMk id="12" creationId="{F539B315-B1B0-698E-0C25-26A9FA8B84B9}"/>
          </ac:cxnSpMkLst>
        </pc:cxnChg>
        <pc:sldLayoutChg chg="addSp">
          <pc:chgData name="Aurelien Domont" userId="6da7715ce44349b3" providerId="LiveId" clId="{1A65848B-9F1B-4AD0-AD98-692A2614DF16}" dt="2023-05-05T06:37:03.994" v="2731"/>
          <pc:sldLayoutMkLst>
            <pc:docMk/>
            <pc:sldMasterMk cId="3480026145" sldId="2147483670"/>
            <pc:sldLayoutMk cId="2471223300" sldId="2147483671"/>
          </pc:sldLayoutMkLst>
          <pc:spChg chg="add">
            <ac:chgData name="Aurelien Domont" userId="6da7715ce44349b3" providerId="LiveId" clId="{1A65848B-9F1B-4AD0-AD98-692A2614DF16}" dt="2023-05-05T06:37:03.994" v="2731"/>
            <ac:spMkLst>
              <pc:docMk/>
              <pc:sldMasterMk cId="3480026145" sldId="2147483670"/>
              <pc:sldLayoutMk cId="2471223300" sldId="2147483671"/>
              <ac:spMk id="9" creationId="{5B19FF83-CA3D-5098-04B9-6A2F53272295}"/>
            </ac:spMkLst>
          </pc:spChg>
          <pc:spChg chg="add">
            <ac:chgData name="Aurelien Domont" userId="6da7715ce44349b3" providerId="LiveId" clId="{1A65848B-9F1B-4AD0-AD98-692A2614DF16}" dt="2023-05-05T06:37:03.994" v="2731"/>
            <ac:spMkLst>
              <pc:docMk/>
              <pc:sldMasterMk cId="3480026145" sldId="2147483670"/>
              <pc:sldLayoutMk cId="2471223300" sldId="2147483671"/>
              <ac:spMk id="10" creationId="{CBBE1F21-E6E5-C81C-7588-C9AD16037932}"/>
            </ac:spMkLst>
          </pc:spChg>
          <pc:graphicFrameChg chg="add">
            <ac:chgData name="Aurelien Domont" userId="6da7715ce44349b3" providerId="LiveId" clId="{1A65848B-9F1B-4AD0-AD98-692A2614DF16}" dt="2023-05-05T06:37:03.994" v="2731"/>
            <ac:graphicFrameMkLst>
              <pc:docMk/>
              <pc:sldMasterMk cId="3480026145" sldId="2147483670"/>
              <pc:sldLayoutMk cId="2471223300" sldId="2147483671"/>
              <ac:graphicFrameMk id="8" creationId="{9A523AEE-DF7D-062F-597A-BFF164BD7342}"/>
            </ac:graphicFrameMkLst>
          </pc:graphicFrameChg>
        </pc:sldLayoutChg>
        <pc:sldLayoutChg chg="addSp">
          <pc:chgData name="Aurelien Domont" userId="6da7715ce44349b3" providerId="LiveId" clId="{1A65848B-9F1B-4AD0-AD98-692A2614DF16}" dt="2023-05-05T06:37:03.994" v="2731"/>
          <pc:sldLayoutMkLst>
            <pc:docMk/>
            <pc:sldMasterMk cId="3480026145" sldId="2147483670"/>
            <pc:sldLayoutMk cId="1695806728" sldId="2147483672"/>
          </pc:sldLayoutMkLst>
          <pc:spChg chg="add">
            <ac:chgData name="Aurelien Domont" userId="6da7715ce44349b3" providerId="LiveId" clId="{1A65848B-9F1B-4AD0-AD98-692A2614DF16}" dt="2023-05-05T06:37:03.994" v="2731"/>
            <ac:spMkLst>
              <pc:docMk/>
              <pc:sldMasterMk cId="3480026145" sldId="2147483670"/>
              <pc:sldLayoutMk cId="1695806728" sldId="2147483672"/>
              <ac:spMk id="5" creationId="{069BB852-C1B0-25DB-CC13-E743F6521F96}"/>
            </ac:spMkLst>
          </pc:spChg>
          <pc:spChg chg="add">
            <ac:chgData name="Aurelien Domont" userId="6da7715ce44349b3" providerId="LiveId" clId="{1A65848B-9F1B-4AD0-AD98-692A2614DF16}" dt="2023-05-05T06:37:03.994" v="2731"/>
            <ac:spMkLst>
              <pc:docMk/>
              <pc:sldMasterMk cId="3480026145" sldId="2147483670"/>
              <pc:sldLayoutMk cId="1695806728" sldId="2147483672"/>
              <ac:spMk id="6" creationId="{D537D888-C9BB-CB2C-2952-84297D8940A8}"/>
            </ac:spMkLst>
          </pc:spChg>
          <pc:graphicFrameChg chg="add">
            <ac:chgData name="Aurelien Domont" userId="6da7715ce44349b3" providerId="LiveId" clId="{1A65848B-9F1B-4AD0-AD98-692A2614DF16}" dt="2023-05-05T06:37:03.994" v="2731"/>
            <ac:graphicFrameMkLst>
              <pc:docMk/>
              <pc:sldMasterMk cId="3480026145" sldId="2147483670"/>
              <pc:sldLayoutMk cId="1695806728" sldId="2147483672"/>
              <ac:graphicFrameMk id="4" creationId="{8F987152-7807-F39F-6B26-5C428B896765}"/>
            </ac:graphicFrameMkLst>
          </pc:graphicFrameChg>
          <pc:cxnChg chg="add">
            <ac:chgData name="Aurelien Domont" userId="6da7715ce44349b3" providerId="LiveId" clId="{1A65848B-9F1B-4AD0-AD98-692A2614DF16}" dt="2023-05-05T06:37:03.994" v="2731"/>
            <ac:cxnSpMkLst>
              <pc:docMk/>
              <pc:sldMasterMk cId="3480026145" sldId="2147483670"/>
              <pc:sldLayoutMk cId="1695806728" sldId="2147483672"/>
              <ac:cxnSpMk id="10" creationId="{F121F1F3-0949-AEEF-3A63-7884BC3CC329}"/>
            </ac:cxnSpMkLst>
          </pc:cxnChg>
        </pc:sldLayoutChg>
        <pc:sldLayoutChg chg="addSp">
          <pc:chgData name="Aurelien Domont" userId="6da7715ce44349b3" providerId="LiveId" clId="{1A65848B-9F1B-4AD0-AD98-692A2614DF16}" dt="2023-05-05T06:37:03.994" v="2731"/>
          <pc:sldLayoutMkLst>
            <pc:docMk/>
            <pc:sldMasterMk cId="3480026145" sldId="2147483670"/>
            <pc:sldLayoutMk cId="164187539" sldId="2147483673"/>
          </pc:sldLayoutMkLst>
          <pc:spChg chg="add">
            <ac:chgData name="Aurelien Domont" userId="6da7715ce44349b3" providerId="LiveId" clId="{1A65848B-9F1B-4AD0-AD98-692A2614DF16}" dt="2023-05-05T06:37:03.994" v="2731"/>
            <ac:spMkLst>
              <pc:docMk/>
              <pc:sldMasterMk cId="3480026145" sldId="2147483670"/>
              <pc:sldLayoutMk cId="164187539" sldId="2147483673"/>
              <ac:spMk id="6" creationId="{8B8370F7-B206-CCD4-9976-904AFE4198E6}"/>
            </ac:spMkLst>
          </pc:spChg>
          <pc:spChg chg="add">
            <ac:chgData name="Aurelien Domont" userId="6da7715ce44349b3" providerId="LiveId" clId="{1A65848B-9F1B-4AD0-AD98-692A2614DF16}" dt="2023-05-05T06:37:03.994" v="2731"/>
            <ac:spMkLst>
              <pc:docMk/>
              <pc:sldMasterMk cId="3480026145" sldId="2147483670"/>
              <pc:sldLayoutMk cId="164187539" sldId="2147483673"/>
              <ac:spMk id="11" creationId="{E46A756B-F76C-E2A7-2648-F0FCF37B9C3A}"/>
            </ac:spMkLst>
          </pc:spChg>
          <pc:graphicFrameChg chg="add">
            <ac:chgData name="Aurelien Domont" userId="6da7715ce44349b3" providerId="LiveId" clId="{1A65848B-9F1B-4AD0-AD98-692A2614DF16}" dt="2023-05-05T06:37:03.994" v="2731"/>
            <ac:graphicFrameMkLst>
              <pc:docMk/>
              <pc:sldMasterMk cId="3480026145" sldId="2147483670"/>
              <pc:sldLayoutMk cId="164187539" sldId="2147483673"/>
              <ac:graphicFrameMk id="2" creationId="{55266D55-3B8A-9146-2F97-D45DC98FC271}"/>
            </ac:graphicFrameMkLst>
          </pc:graphicFrameChg>
          <pc:cxnChg chg="add">
            <ac:chgData name="Aurelien Domont" userId="6da7715ce44349b3" providerId="LiveId" clId="{1A65848B-9F1B-4AD0-AD98-692A2614DF16}" dt="2023-05-05T06:37:03.994" v="2731"/>
            <ac:cxnSpMkLst>
              <pc:docMk/>
              <pc:sldMasterMk cId="3480026145" sldId="2147483670"/>
              <pc:sldLayoutMk cId="164187539" sldId="2147483673"/>
              <ac:cxnSpMk id="12" creationId="{B3AFA2DB-2407-3067-A3BE-4E7A22D28463}"/>
            </ac:cxnSpMkLst>
          </pc:cxnChg>
        </pc:sldLayoutChg>
        <pc:sldLayoutChg chg="addSp">
          <pc:chgData name="Aurelien Domont" userId="6da7715ce44349b3" providerId="LiveId" clId="{1A65848B-9F1B-4AD0-AD98-692A2614DF16}" dt="2023-05-05T06:37:03.994" v="2731"/>
          <pc:sldLayoutMkLst>
            <pc:docMk/>
            <pc:sldMasterMk cId="3480026145" sldId="2147483670"/>
            <pc:sldLayoutMk cId="58023132" sldId="2147483675"/>
          </pc:sldLayoutMkLst>
          <pc:spChg chg="add">
            <ac:chgData name="Aurelien Domont" userId="6da7715ce44349b3" providerId="LiveId" clId="{1A65848B-9F1B-4AD0-AD98-692A2614DF16}" dt="2023-05-05T06:37:03.994" v="2731"/>
            <ac:spMkLst>
              <pc:docMk/>
              <pc:sldMasterMk cId="3480026145" sldId="2147483670"/>
              <pc:sldLayoutMk cId="58023132" sldId="2147483675"/>
              <ac:spMk id="6" creationId="{2CFDD1D2-D607-693D-DF8A-2EC3F6D41E35}"/>
            </ac:spMkLst>
          </pc:spChg>
          <pc:spChg chg="add">
            <ac:chgData name="Aurelien Domont" userId="6da7715ce44349b3" providerId="LiveId" clId="{1A65848B-9F1B-4AD0-AD98-692A2614DF16}" dt="2023-05-05T06:37:03.994" v="2731"/>
            <ac:spMkLst>
              <pc:docMk/>
              <pc:sldMasterMk cId="3480026145" sldId="2147483670"/>
              <pc:sldLayoutMk cId="58023132" sldId="2147483675"/>
              <ac:spMk id="10" creationId="{9762ABEF-ED18-E610-B1BC-53DA62A8D438}"/>
            </ac:spMkLst>
          </pc:spChg>
          <pc:spChg chg="add">
            <ac:chgData name="Aurelien Domont" userId="6da7715ce44349b3" providerId="LiveId" clId="{1A65848B-9F1B-4AD0-AD98-692A2614DF16}" dt="2023-05-05T06:37:03.994" v="2731"/>
            <ac:spMkLst>
              <pc:docMk/>
              <pc:sldMasterMk cId="3480026145" sldId="2147483670"/>
              <pc:sldLayoutMk cId="58023132" sldId="2147483675"/>
              <ac:spMk id="17" creationId="{90FDF15D-4206-8D33-68FB-CBA69C852E79}"/>
            </ac:spMkLst>
          </pc:spChg>
          <pc:graphicFrameChg chg="add">
            <ac:chgData name="Aurelien Domont" userId="6da7715ce44349b3" providerId="LiveId" clId="{1A65848B-9F1B-4AD0-AD98-692A2614DF16}" dt="2023-05-05T06:37:03.994" v="2731"/>
            <ac:graphicFrameMkLst>
              <pc:docMk/>
              <pc:sldMasterMk cId="3480026145" sldId="2147483670"/>
              <pc:sldLayoutMk cId="58023132" sldId="2147483675"/>
              <ac:graphicFrameMk id="5" creationId="{94AC7B56-5D88-9259-E8A6-44FBF512DAEB}"/>
            </ac:graphicFrameMkLst>
          </pc:graphicFrameChg>
          <pc:cxnChg chg="add">
            <ac:chgData name="Aurelien Domont" userId="6da7715ce44349b3" providerId="LiveId" clId="{1A65848B-9F1B-4AD0-AD98-692A2614DF16}" dt="2023-05-05T06:37:03.994" v="2731"/>
            <ac:cxnSpMkLst>
              <pc:docMk/>
              <pc:sldMasterMk cId="3480026145" sldId="2147483670"/>
              <pc:sldLayoutMk cId="58023132" sldId="2147483675"/>
              <ac:cxnSpMk id="16" creationId="{3EB81AA0-8E1B-FEB0-BE59-F1314857322C}"/>
            </ac:cxnSpMkLst>
          </pc:cxn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680FBE-A8DF-4758-9AC4-3A9E1039168F}" type="datetimeFigureOut">
              <a:rPr lang="en-US" smtClean="0"/>
              <a:t>5/11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679768-A2FC-4D08-91F6-8DCE6C566B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2551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13577B-6902-467D-A26C-08A0DD5E4E03}" type="datetimeFigureOut">
              <a:rPr lang="en-US" smtClean="0"/>
              <a:t>5/1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1EA0F-A667-4B49-8422-0062BC55E2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910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1422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6325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03436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56970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8929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269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6978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21127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65246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78013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351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14804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5868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08497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8.xml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9.xml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0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3.xml"/><Relationship Id="rId4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4.xml"/><Relationship Id="rId4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5.xml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6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7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8.xml"/><Relationship Id="rId4" Type="http://schemas.openxmlformats.org/officeDocument/2006/relationships/image" Target="../media/image2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9.xml"/><Relationship Id="rId4" Type="http://schemas.openxmlformats.org/officeDocument/2006/relationships/image" Target="../media/image2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0.xml"/><Relationship Id="rId4" Type="http://schemas.openxmlformats.org/officeDocument/2006/relationships/image" Target="../media/image2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2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6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3.xml"/><Relationship Id="rId4" Type="http://schemas.openxmlformats.org/officeDocument/2006/relationships/image" Target="../media/image2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4.xml"/><Relationship Id="rId4" Type="http://schemas.openxmlformats.org/officeDocument/2006/relationships/image" Target="../media/image2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5.xml"/><Relationship Id="rId4" Type="http://schemas.openxmlformats.org/officeDocument/2006/relationships/image" Target="../media/image2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1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2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4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5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08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8.xml"/><Relationship Id="rId7" Type="http://schemas.openxmlformats.org/officeDocument/2006/relationships/image" Target="../media/image2.emf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9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09.xml"/><Relationship Id="rId4" Type="http://schemas.openxmlformats.org/officeDocument/2006/relationships/image" Target="../media/image2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10.xml"/><Relationship Id="rId4" Type="http://schemas.openxmlformats.org/officeDocument/2006/relationships/image" Target="../media/image2.emf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2.xml"/><Relationship Id="rId7" Type="http://schemas.openxmlformats.org/officeDocument/2006/relationships/image" Target="../media/image2.emf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7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32.xml"/><Relationship Id="rId7" Type="http://schemas.openxmlformats.org/officeDocument/2006/relationships/image" Target="../media/image2.emf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5B5E3D-CB4A-42B4-B4A8-2B0BF3B8AB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123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5B5E3D-CB4A-42B4-B4A8-2B0BF3B8A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A92DAC-F488-43C5-9D7F-27FF4541E3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34898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2A8FC1-56C6-4CB8-844A-9296528056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886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2A8FC1-56C6-4CB8-844A-929652805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1910929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F3D51A-DDA6-4B22-933D-3CF618BD4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60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F3D51A-DDA6-4B22-933D-3CF618BD4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8520888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5216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B52DD5D3-52AA-4709-85C9-1D9916B741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569772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3530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55ECDAF-D721-41FB-95E8-475C9A67BD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2323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573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7E8864E-162B-40F9-9515-9BB374594B6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5950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2947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D618E95-38CE-4566-8258-0AC0A3A112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649344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7927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88C93F9-9505-4E39-A774-1117B8BC856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10737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567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41539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950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82349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598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31460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656D9F-25FA-405A-9022-D20B606256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49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656D9F-25FA-405A-9022-D20B60625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E6A1B2-F3BE-47E8-B7AB-BED2735E98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0843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56145A-495B-4022-B821-DD8A20D724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6356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56145A-495B-4022-B821-DD8A20D72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0C7A3A3-6E96-4AA0-A49C-A1F160EFD2D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285722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923E8C-4F41-4FF2-B5C9-0708083043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3278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923E8C-4F41-4FF2-B5C9-070808304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08AD5E-D75E-4A5B-B857-E7CC9DAD924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17718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128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27E5BF0-5196-473F-B84C-EE7FCA017F2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0715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3FD45E-71ED-43B0-8AE7-C08D3A4C2A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6144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3FD45E-71ED-43B0-8AE7-C08D3A4C2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D971712-BE3F-4E1C-AB2E-A371CC7DD3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493068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A1D2D6-5C0E-4C96-B1D6-EDE7E84FB7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1782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A1D2D6-5C0E-4C96-B1D6-EDE7E84FB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3616CAA-EC2D-4FA1-9158-BA98D4D930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99187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FD641D-BB7B-469F-816A-DFA22DF811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974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FD641D-BB7B-469F-816A-DFA22DF81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73090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B57718-4357-4914-80E6-3B747C6008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6636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B57718-4357-4914-80E6-3B747C600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01587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751107-3CDE-4232-A9E3-A96F072D3B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488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751107-3CDE-4232-A9E3-A96F072D3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55546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5A80A56-F2B8-4233-B98E-991B9849D5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00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5A80A56-F2B8-4233-B98E-991B9849D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DCF9E7F-00A7-443B-A8BD-D6DD49F766C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637223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E69E61E-D2FE-4570-9EBE-E865ACCB53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440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E69E61E-D2FE-4570-9EBE-E865ACCB5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F7B18B3-B399-4EBD-B41A-54B80DC4869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911585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DB49A0-8B85-4CDE-8262-9211F1AFE2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>
            <a:lvl1pPr>
              <a:defRPr lang="en-US" sz="1000" smtClean="0">
                <a:solidFill>
                  <a:srgbClr val="ADAFBB"/>
                </a:solidFill>
              </a:defRPr>
            </a:lvl1pPr>
          </a:lstStyle>
          <a:p>
            <a:fld id="{37F5C94B-8C55-478B-B509-BAE6A06B2E2A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876765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0222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318CD32-CC64-4768-B5C2-06F7D33E18E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612780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D6934F-8C9A-40B8-AA76-2797BABA31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402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D6934F-8C9A-40B8-AA76-2797BABA31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40D60E-6653-48F7-A274-5BACC65945B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976233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187F02-3C90-44EA-809A-294D7412CC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8062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187F02-3C90-44EA-809A-294D7412CC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D4E0BE9-D042-41EB-89B4-E156B1EDEA3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20642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78FF16-F396-46B0-B76B-3DE885687F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220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78FF16-F396-46B0-B76B-3DE885687F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1177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6CEDF0F-9090-417B-A721-862C9C8A2B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2144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6CEDF0F-9090-417B-A721-862C9C8A2B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8165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84A5886-2DEB-405E-8AE4-F1A2D2405C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3380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84A5886-2DEB-405E-8AE4-F1A2D2405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854750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E31A9B1-3614-4265-92AD-E4A55B124B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5463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E31A9B1-3614-4265-92AD-E4A55B124B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78BA310-1AB9-4912-9FCC-5CB57AFBF6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83574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FCD1A4-A534-4A39-8F67-745C3B0F56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1641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FCD1A4-A534-4A39-8F67-745C3B0F56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D0182-8D62-4553-861A-6C3EE1A0080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837615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3182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401EDD9-4356-4D92-BFA6-18D14C3583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6733803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066462-B21E-42BA-9849-0189692B07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995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066462-B21E-42BA-9849-0189692B07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98D13-FDB6-4894-B6DB-513BCEF6B9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766874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7B69D1-1AC7-4788-B7F1-4214ACF38D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235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7B69D1-1AC7-4788-B7F1-4214ACF38D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8CC8475-D9DE-4E1C-B79D-4F1693FA34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6437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EA052-D836-403B-9728-34A25E9C2C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652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EA052-D836-403B-9728-34A25E9C2C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B76B91E-4B9A-4BDD-AF07-38C087D034E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234439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C10801-724F-4C7C-B183-9B7C55022B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4559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C10801-724F-4C7C-B183-9B7C55022B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524384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A17C64-B08B-47A8-A33B-EB28C23C62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8941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3A17C64-B08B-47A8-A33B-EB28C23C6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428346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AB6336B-9556-4AD2-BB4C-BEE8752B0E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257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AB6336B-9556-4AD2-BB4C-BEE8752B0E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289496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0ED4B2B-88C5-45AF-A5C1-78C797AD6E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822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0ED4B2B-88C5-45AF-A5C1-78C797AD6E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ED61E65-8E69-4519-8B63-721B7117E88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297620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109269-4FFF-4EB1-A58A-7B8FDC8BE5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4659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3109269-4FFF-4EB1-A58A-7B8FDC8BE5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0D64B3F-295A-4A28-BC11-808C7B0F57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9651556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7905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A9BFA63-CD65-430C-A3EC-015E8DDF7F1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244211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6F6200-8DF7-455A-B41B-E8A921FCF8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39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6F6200-8DF7-455A-B41B-E8A921FCF8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6FCB3B-15D5-42F2-9818-7ACE52AE84A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8608444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1F9D8D-77DA-48B3-9BC0-FC14D3AB63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8357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1F9D8D-77DA-48B3-9BC0-FC14D3AB6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8C4684-AF30-4F89-B5B0-EA4C666238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7914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8600AB-D0BD-4835-B978-ED5D266B1F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7470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8600AB-D0BD-4835-B978-ED5D266B1F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75369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5B5E3D-CB4A-42B4-B4A8-2B0BF3B8AB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123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5B5E3D-CB4A-42B4-B4A8-2B0BF3B8A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A92DAC-F488-43C5-9D7F-27FF4541E3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523AEE-DF7D-062F-597A-BFF164BD73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2123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523AEE-DF7D-062F-597A-BFF164BD73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B19FF83-CA3D-5098-04B9-6A2F5327229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BE1F21-E6E5-C81C-7588-C9AD16037932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47122330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DD7381-50BA-41E9-84D9-A4163E043F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485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DD7381-50BA-41E9-84D9-A4163E043F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87983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D9909C-44BE-4347-ADAE-5582FF871A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1066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D9909C-44BE-4347-ADAE-5582FF871A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123033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1411464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66334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0259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54405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7492796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284860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843975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858537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09492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656D9F-25FA-405A-9022-D20B606256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49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656D9F-25FA-405A-9022-D20B60625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E6A1B2-F3BE-47E8-B7AB-BED2735E985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F987152-7807-F39F-6B26-5C428B8967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52949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F987152-7807-F39F-6B26-5C428B8967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69BB852-C1B0-25DB-CC13-E743F6521F9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37D888-C9BB-CB2C-2952-84297D8940A8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121F1F3-0949-AEEF-3A63-7884BC3CC329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580672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775014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5798062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373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2413899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4338718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73641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321671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4529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260705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0199002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341650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DB49A0-8B85-4CDE-8262-9211F1AFE2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>
            <a:lvl1pPr>
              <a:defRPr lang="en-US" sz="1000" smtClean="0">
                <a:solidFill>
                  <a:srgbClr val="ADAFBB"/>
                </a:solidFill>
              </a:defRPr>
            </a:lvl1pPr>
          </a:lstStyle>
          <a:p>
            <a:fld id="{37F5C94B-8C55-478B-B509-BAE6A06B2E2A}" type="slidenum">
              <a:rPr lang="en-IN" smtClean="0"/>
              <a:pPr/>
              <a:t>‹#›</a:t>
            </a:fld>
            <a:endParaRPr lang="en-IN" dirty="0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5266D55-3B8A-9146-2F97-D45DC98FC2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5266D55-3B8A-9146-2F97-D45DC98FC2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B8370F7-B206-CCD4-9976-904AFE4198E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46A756B-F76C-E2A7-2648-F0FCF37B9C3A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3AFA2DB-2407-3067-A3BE-4E7A22D28463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18753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536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ABDE05-52B6-4020-83AF-9DE428B90CD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/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1795601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9285993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296424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631920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58980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8189" y="6553224"/>
            <a:ext cx="5627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D59692-9C01-496D-8A3D-EDFAC4E8A8B9}" type="slidenum">
              <a:rPr lang="en-US" sz="800">
                <a:solidFill>
                  <a:srgbClr val="AFB1B4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AFB1B4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04331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3337E5-F939-452A-8B9D-AD5B5CAF18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2963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3337E5-F939-452A-8B9D-AD5B5CAF18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E513CA-7CE5-4930-A743-60B6C3068A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90757761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7B69D1-1AC7-4788-B7F1-4214ACF38D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235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7B69D1-1AC7-4788-B7F1-4214ACF38D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8CC8475-D9DE-4E1C-B79D-4F1693FA34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AC7B56-5D88-9259-E8A6-44FBF512DA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1235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AC7B56-5D88-9259-E8A6-44FBF512DA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CFDD1D2-D607-693D-DF8A-2EC3F6D41E3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62ABEF-ED18-E610-B1BC-53DA62A8D438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EB81AA0-8E1B-FEB0-BE59-F1314857322C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90FDF15D-4206-8D33-68FB-CBA69C852E79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231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oleObject" Target="../embeddings/oleObject63.bin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tags" Target="../tags/tag120.xml"/><Relationship Id="rId5" Type="http://schemas.openxmlformats.org/officeDocument/2006/relationships/slideLayout" Target="../slideLayouts/slideLayout72.xml"/><Relationship Id="rId10" Type="http://schemas.openxmlformats.org/officeDocument/2006/relationships/tags" Target="../tags/tag119.xml"/><Relationship Id="rId4" Type="http://schemas.openxmlformats.org/officeDocument/2006/relationships/slideLayout" Target="../slideLayouts/slideLayout71.xml"/><Relationship Id="rId9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oleObject" Target="../embeddings/oleObject6.bin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ags" Target="../tags/tag15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tags" Target="../tags/tag14.xml"/><Relationship Id="rId5" Type="http://schemas.openxmlformats.org/officeDocument/2006/relationships/slideLayout" Target="../slideLayouts/slideLayout9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13.xml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12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oleObject" Target="../embeddings/oleObject14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37.xml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36.x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oleObject" Target="../embeddings/oleObject23.bin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tags" Target="../tags/tag52.xml"/><Relationship Id="rId5" Type="http://schemas.openxmlformats.org/officeDocument/2006/relationships/slideLayout" Target="../slideLayouts/slideLayout24.xml"/><Relationship Id="rId10" Type="http://schemas.openxmlformats.org/officeDocument/2006/relationships/tags" Target="../tags/tag51.xml"/><Relationship Id="rId4" Type="http://schemas.openxmlformats.org/officeDocument/2006/relationships/slideLayout" Target="../slideLayouts/slideLayout23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oleObject" Target="../embeddings/oleObject32.bin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tags" Target="../tags/tag67.xml"/><Relationship Id="rId5" Type="http://schemas.openxmlformats.org/officeDocument/2006/relationships/slideLayout" Target="../slideLayouts/slideLayout32.xml"/><Relationship Id="rId10" Type="http://schemas.openxmlformats.org/officeDocument/2006/relationships/tags" Target="../tags/tag66.xml"/><Relationship Id="rId4" Type="http://schemas.openxmlformats.org/officeDocument/2006/relationships/slideLayout" Target="../slideLayouts/slideLayout31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oleObject" Target="../embeddings/oleObject41.bin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tags" Target="../tags/tag82.xml"/><Relationship Id="rId5" Type="http://schemas.openxmlformats.org/officeDocument/2006/relationships/slideLayout" Target="../slideLayouts/slideLayout40.xml"/><Relationship Id="rId10" Type="http://schemas.openxmlformats.org/officeDocument/2006/relationships/tags" Target="../tags/tag81.xml"/><Relationship Id="rId4" Type="http://schemas.openxmlformats.org/officeDocument/2006/relationships/slideLayout" Target="../slideLayouts/slideLayout39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oleObject" Target="../embeddings/oleObject50.bin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tags" Target="../tags/tag97.xml"/><Relationship Id="rId5" Type="http://schemas.openxmlformats.org/officeDocument/2006/relationships/slideLayout" Target="../slideLayouts/slideLayout48.xml"/><Relationship Id="rId10" Type="http://schemas.openxmlformats.org/officeDocument/2006/relationships/tags" Target="../tags/tag96.xml"/><Relationship Id="rId4" Type="http://schemas.openxmlformats.org/officeDocument/2006/relationships/slideLayout" Target="../slideLayouts/slideLayout47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oleObject" Target="../embeddings/oleObject59.bin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tags" Target="../tags/tag112.xml"/><Relationship Id="rId5" Type="http://schemas.openxmlformats.org/officeDocument/2006/relationships/slideLayout" Target="../slideLayouts/slideLayout56.xml"/><Relationship Id="rId10" Type="http://schemas.openxmlformats.org/officeDocument/2006/relationships/tags" Target="../tags/tag111.xml"/><Relationship Id="rId4" Type="http://schemas.openxmlformats.org/officeDocument/2006/relationships/slideLayout" Target="../slideLayouts/slideLayout55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oleObject" Target="../embeddings/oleObject61.bin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tags" Target="../tags/tag116.xml"/><Relationship Id="rId5" Type="http://schemas.openxmlformats.org/officeDocument/2006/relationships/slideLayout" Target="../slideLayouts/slideLayout64.xml"/><Relationship Id="rId10" Type="http://schemas.openxmlformats.org/officeDocument/2006/relationships/tags" Target="../tags/tag115.xml"/><Relationship Id="rId4" Type="http://schemas.openxmlformats.org/officeDocument/2006/relationships/slideLayout" Target="../slideLayouts/slideLayout63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33578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A767ABE-C4E1-4B07-8DB9-34D6A2E637D2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589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66" r:id="rId4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7723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417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33578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A767ABE-C4E1-4B07-8DB9-34D6A2E637D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CDF45FE-35B3-2ACA-750A-280401E605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33578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44" imgH="344" progId="TCLayout.ActiveDocument.1">
                  <p:embed/>
                </p:oleObj>
              </mc:Choice>
              <mc:Fallback>
                <p:oleObj name="think-cell Slide" r:id="rId1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CDF45FE-35B3-2ACA-750A-280401E605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388F295C-9C57-0356-119D-1F2D6E610CA1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19245F7-4C1E-B61C-D250-B442AF1B938E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539B315-B1B0-698E-0C25-26A9FA8B84B9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002614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172980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FA45CBE-6EDD-47CF-839C-634311055A9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7587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292762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00F4A05-5FC6-4EF6-9F0A-50169E71CED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383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409054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0DF5E7C-B407-4334-9B3E-D6F721C3ACB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850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56020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07F74DD-537C-460A-8A03-4AF118351BE8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775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28167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22C0B89-B0D4-461C-BEF4-713AE5855FA4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9331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88705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8685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793116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B7F7BCE-5DDF-4F0C-832D-8348B8239FF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1000" b="0" smtClean="0">
                <a:solidFill>
                  <a:srgbClr val="B6B8C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37F5C94B-8C55-478B-B509-BAE6A06B2E2A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2693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.png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5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www.slidebooks.com/products/business-toolkit?variant=12473147916370&amp;utm_source=email&amp;utm_medium=email&amp;utm_campaign=entering%20new%20market" TargetMode="Externa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8.bin"/><Relationship Id="rId4" Type="http://schemas.openxmlformats.org/officeDocument/2006/relationships/notesSlide" Target="../notesSlides/notesSlide13.xml"/><Relationship Id="rId9" Type="http://schemas.openxmlformats.org/officeDocument/2006/relationships/hyperlink" Target="https://www.domontconsulting.com/pages/full-access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www.domontconsulting.com/" TargetMode="Externa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9.bin"/><Relationship Id="rId4" Type="http://schemas.openxmlformats.org/officeDocument/2006/relationships/notesSlide" Target="../notesSlides/notesSlide14.xml"/><Relationship Id="rId9" Type="http://schemas.openxmlformats.org/officeDocument/2006/relationships/hyperlink" Target="http://www.domontconsulting.com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7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1A0FD28-B360-4C9C-A1CC-D67C30C868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174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A1A0FD28-B360-4C9C-A1CC-D67C30C868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C222716-69D1-4221-B418-044978CCFE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5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61080C-C60C-4746-B6B1-A9A4FFA8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0" y="810229"/>
            <a:ext cx="11384659" cy="196716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US" sz="4400" dirty="0"/>
              <a:t>Discounted Cash Flow Model </a:t>
            </a:r>
            <a:br>
              <a:rPr lang="en-US" sz="5400" dirty="0"/>
            </a:br>
            <a:r>
              <a:rPr lang="en-US" b="0" dirty="0"/>
              <a:t>Example 1 - Tutorial</a:t>
            </a:r>
            <a:endParaRPr lang="en-US" sz="54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CC70D54-7ED4-413B-9765-58C9A9D81D3A}"/>
              </a:ext>
            </a:extLst>
          </p:cNvPr>
          <p:cNvGrpSpPr/>
          <p:nvPr/>
        </p:nvGrpSpPr>
        <p:grpSpPr>
          <a:xfrm>
            <a:off x="-1122" y="6570"/>
            <a:ext cx="1493372" cy="1459010"/>
            <a:chOff x="-9097" y="-23336"/>
            <a:chExt cx="974935" cy="952500"/>
          </a:xfrm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F04C1B76-90D8-40DB-94ED-24A864BFBA56}"/>
                </a:ext>
              </a:extLst>
            </p:cNvPr>
            <p:cNvSpPr/>
            <p:nvPr/>
          </p:nvSpPr>
          <p:spPr>
            <a:xfrm>
              <a:off x="-7091" y="-23336"/>
              <a:ext cx="972929" cy="952500"/>
            </a:xfrm>
            <a:prstGeom prst="diagStripe">
              <a:avLst>
                <a:gd name="adj" fmla="val 61073"/>
              </a:avLst>
            </a:prstGeom>
            <a:gradFill flip="none" rotWithShape="1">
              <a:gsLst>
                <a:gs pos="100000">
                  <a:srgbClr val="FFFFFF">
                    <a:lumMod val="85000"/>
                  </a:srgbClr>
                </a:gs>
                <a:gs pos="34000">
                  <a:srgbClr val="FFFFFF"/>
                </a:gs>
              </a:gsLst>
              <a:path path="circl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>
              <a:outerShdw blurRad="50800" dist="127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F61102C-BCA7-4CBF-AA08-2A8190D41E84}"/>
                </a:ext>
              </a:extLst>
            </p:cNvPr>
            <p:cNvSpPr txBox="1"/>
            <p:nvPr/>
          </p:nvSpPr>
          <p:spPr>
            <a:xfrm rot="18948199">
              <a:off x="20409" y="266480"/>
              <a:ext cx="702416" cy="1808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D4B6D"/>
                  </a:solidFill>
                  <a:effectLst/>
                  <a:uLnTx/>
                  <a:uFillTx/>
                  <a:latin typeface="Arial"/>
                </a:rPr>
                <a:t>Confidential</a:t>
              </a: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B5637A05-21FA-40B2-8EC9-FA3CCC279379}"/>
                </a:ext>
              </a:extLst>
            </p:cNvPr>
            <p:cNvCxnSpPr/>
            <p:nvPr/>
          </p:nvCxnSpPr>
          <p:spPr>
            <a:xfrm flipH="1">
              <a:off x="-9097" y="-22860"/>
              <a:ext cx="623270" cy="623272"/>
            </a:xfrm>
            <a:prstGeom prst="line">
              <a:avLst/>
            </a:prstGeom>
            <a:noFill/>
            <a:ln w="6350" cap="flat" cmpd="sng" algn="ctr">
              <a:solidFill>
                <a:srgbClr val="3692D4"/>
              </a:solidFill>
              <a:prstDash val="dash"/>
            </a:ln>
            <a:effectLst/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AD4AD69A-E74E-4ECC-8128-6060F9673920}"/>
                </a:ext>
              </a:extLst>
            </p:cNvPr>
            <p:cNvCxnSpPr/>
            <p:nvPr/>
          </p:nvCxnSpPr>
          <p:spPr>
            <a:xfrm flipH="1">
              <a:off x="-7091" y="-22860"/>
              <a:ext cx="921493" cy="893213"/>
            </a:xfrm>
            <a:prstGeom prst="line">
              <a:avLst/>
            </a:prstGeom>
            <a:noFill/>
            <a:ln w="6350" cap="flat" cmpd="sng" algn="ctr">
              <a:solidFill>
                <a:srgbClr val="3692D4"/>
              </a:solidFill>
              <a:prstDash val="dash"/>
            </a:ln>
            <a:effectLst/>
          </p:spPr>
        </p:cxn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4323A288-DF62-40EE-A63D-BDD5F64061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9595" y="3596148"/>
            <a:ext cx="5436950" cy="26596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2CB704D-C26F-E100-A0A1-C3C25AB261D6}"/>
              </a:ext>
            </a:extLst>
          </p:cNvPr>
          <p:cNvSpPr txBox="1">
            <a:spLocks/>
          </p:cNvSpPr>
          <p:nvPr/>
        </p:nvSpPr>
        <p:spPr>
          <a:xfrm>
            <a:off x="696353" y="3429000"/>
            <a:ext cx="5316053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00041" indent="-16827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377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87451" indent="-171446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01789" indent="-171446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>
                <a:solidFill>
                  <a:schemeClr val="accent1"/>
                </a:solidFill>
              </a:rPr>
              <a:t>Created by former JP Morgan Investment Bankers, and McKinsey &amp; Deloitte Consultants</a:t>
            </a:r>
            <a:endParaRPr lang="en-US" sz="20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9013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C9D7FA9-15DB-20B8-7897-75FCD802AD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2233" y="2142644"/>
            <a:ext cx="9596432" cy="277033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Step 7 - </a:t>
            </a:r>
            <a:r>
              <a:rPr lang="en-GB" sz="2400" kern="0" dirty="0"/>
              <a:t>Calculate the Company estimated Intrinsic Value</a:t>
            </a:r>
            <a:endParaRPr lang="en-US" sz="2400" kern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0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87171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4D6927E-9EBC-6962-F4BD-39117389B2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06650" y="2320465"/>
            <a:ext cx="8141118" cy="344822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Step 8 - </a:t>
            </a:r>
            <a:r>
              <a:rPr lang="en-GB" sz="2400" kern="0" dirty="0"/>
              <a:t>Calculate the current Market Value of the company</a:t>
            </a:r>
            <a:endParaRPr lang="en-US" sz="2400" kern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1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20D60C7-70D3-99E2-8F24-4B38A7C0AFAB}"/>
              </a:ext>
            </a:extLst>
          </p:cNvPr>
          <p:cNvSpPr/>
          <p:nvPr/>
        </p:nvSpPr>
        <p:spPr>
          <a:xfrm>
            <a:off x="1985074" y="3136606"/>
            <a:ext cx="8062694" cy="1318436"/>
          </a:xfrm>
          <a:prstGeom prst="rect">
            <a:avLst/>
          </a:prstGeom>
          <a:noFill/>
          <a:ln w="28575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90894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Step 9 - </a:t>
            </a:r>
            <a:r>
              <a:rPr lang="en-GB" sz="2400" kern="0" dirty="0"/>
              <a:t>Calculate your Internal Rate of Return based on the company estimated intrinsic value and the Market Value</a:t>
            </a:r>
            <a:endParaRPr lang="en-US" sz="2400" kern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2</a:t>
            </a:fld>
            <a:endParaRPr lang="en-US" sz="1000" dirty="0">
              <a:solidFill>
                <a:srgbClr val="ADAFBB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1C3B2FB-664D-5B36-E521-8740C21135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94349" y="2349042"/>
            <a:ext cx="8312577" cy="339107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19A2146-5162-9A8D-F7C4-396696A0EFF9}"/>
              </a:ext>
            </a:extLst>
          </p:cNvPr>
          <p:cNvSpPr/>
          <p:nvPr/>
        </p:nvSpPr>
        <p:spPr>
          <a:xfrm>
            <a:off x="1985074" y="4518836"/>
            <a:ext cx="8062694" cy="1221279"/>
          </a:xfrm>
          <a:prstGeom prst="rect">
            <a:avLst/>
          </a:prstGeom>
          <a:noFill/>
          <a:ln w="28575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93497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BD01E70-F8C7-493C-AEDD-E5492D344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BD01E70-F8C7-493C-AEDD-E5492D344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A098EA-8CD1-417F-A724-88393CE4575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2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Picture 11">
            <a:hlinkClick r:id="rId7"/>
            <a:extLst>
              <a:ext uri="{FF2B5EF4-FFF2-40B4-BE49-F238E27FC236}">
                <a16:creationId xmlns:a16="http://schemas.microsoft.com/office/drawing/2014/main" id="{C0EC32D3-CE1C-48E3-89F2-1AFBF8A9B34F}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9576" y="1756411"/>
            <a:ext cx="6232848" cy="3505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06113FD-AA7D-4249-90D7-70AF85BE4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80008" cy="1091318"/>
          </a:xfrm>
        </p:spPr>
        <p:txBody>
          <a:bodyPr>
            <a:normAutofit/>
          </a:bodyPr>
          <a:lstStyle/>
          <a:p>
            <a:r>
              <a:rPr lang="en-US" dirty="0">
                <a:sym typeface="Arial" panose="020B0604020202020204" pitchFamily="34" charset="0"/>
              </a:rPr>
              <a:t>Interested in more than 1 Toolkit? </a:t>
            </a:r>
            <a:br>
              <a:rPr lang="en-US" sz="2200" dirty="0">
                <a:sym typeface="Arial" panose="020B0604020202020204" pitchFamily="34" charset="0"/>
              </a:rPr>
            </a:br>
            <a:r>
              <a:rPr lang="en-US" sz="2200" b="0" dirty="0">
                <a:sym typeface="Arial" panose="020B0604020202020204" pitchFamily="34" charset="0"/>
              </a:rPr>
              <a:t>Access all our Toolkits for </a:t>
            </a:r>
            <a:r>
              <a:rPr lang="en-US" sz="2200" b="0" u="sng" dirty="0">
                <a:sym typeface="Arial" panose="020B0604020202020204" pitchFamily="34" charset="0"/>
              </a:rPr>
              <a:t>half the price</a:t>
            </a:r>
            <a:r>
              <a:rPr lang="en-US" sz="2200" b="0" dirty="0">
                <a:sym typeface="Arial" panose="020B0604020202020204" pitchFamily="34" charset="0"/>
              </a:rPr>
              <a:t> with our Gold Acces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0F4260-85F5-47B2-8F90-716F660402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13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5724769-7F7A-49A0-978E-58661220D668}"/>
              </a:ext>
            </a:extLst>
          </p:cNvPr>
          <p:cNvSpPr txBox="1">
            <a:spLocks/>
          </p:cNvSpPr>
          <p:nvPr/>
        </p:nvSpPr>
        <p:spPr>
          <a:xfrm>
            <a:off x="3697289" y="5365291"/>
            <a:ext cx="4797423" cy="423802"/>
          </a:xfrm>
          <a:prstGeom prst="rect">
            <a:avLst/>
          </a:prstGeom>
        </p:spPr>
        <p:txBody>
          <a:bodyPr/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2400" kern="0" dirty="0"/>
              <a:t>Gold Access</a:t>
            </a:r>
          </a:p>
        </p:txBody>
      </p:sp>
      <p:sp>
        <p:nvSpPr>
          <p:cNvPr id="5" name="Rectangle: Rounded Corners 4">
            <a:hlinkClick r:id="rId9"/>
            <a:extLst>
              <a:ext uri="{FF2B5EF4-FFF2-40B4-BE49-F238E27FC236}">
                <a16:creationId xmlns:a16="http://schemas.microsoft.com/office/drawing/2014/main" id="{D4604511-274B-95D2-A130-C832BC31795C}"/>
              </a:ext>
            </a:extLst>
          </p:cNvPr>
          <p:cNvSpPr/>
          <p:nvPr/>
        </p:nvSpPr>
        <p:spPr bwMode="auto">
          <a:xfrm>
            <a:off x="4782000" y="6009488"/>
            <a:ext cx="2628000" cy="324000"/>
          </a:xfrm>
          <a:prstGeom prst="roundRect">
            <a:avLst>
              <a:gd name="adj" fmla="val 17808"/>
            </a:avLst>
          </a:prstGeom>
          <a:solidFill>
            <a:srgbClr val="3EA9F5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91428" tIns="144000" rIns="91428" bIns="91440" rtlCol="0" anchor="ctr">
            <a:noAutofit/>
          </a:bodyPr>
          <a:lstStyle/>
          <a:p>
            <a:pPr algn="ctr" defTabSz="623853" rtl="0" fontAlgn="base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400" b="1" kern="1200" dirty="0">
                <a:solidFill>
                  <a:schemeClr val="bg1"/>
                </a:solidFill>
                <a:latin typeface="Arial" charset="0"/>
                <a:ea typeface="+mn-ea"/>
                <a:cs typeface="Times New Roman" pitchFamily="18" charset="0"/>
              </a:rPr>
              <a:t>Click here to learn more</a:t>
            </a:r>
          </a:p>
        </p:txBody>
      </p:sp>
    </p:spTree>
    <p:extLst>
      <p:ext uri="{BB962C8B-B14F-4D97-AF65-F5344CB8AC3E}">
        <p14:creationId xmlns:p14="http://schemas.microsoft.com/office/powerpoint/2010/main" val="17545858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32FE54-3FF5-4B4C-8DBC-DAAD65190E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32FE54-3FF5-4B4C-8DBC-DAAD65190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9313AF4-C8B1-42E4-ACB5-22D9C13E37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6113FD-AA7D-4249-90D7-70AF85BE4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80008" cy="1091318"/>
          </a:xfrm>
        </p:spPr>
        <p:txBody>
          <a:bodyPr>
            <a:normAutofit/>
          </a:bodyPr>
          <a:lstStyle/>
          <a:p>
            <a:r>
              <a:rPr lang="en-US" sz="2400" dirty="0">
                <a:latin typeface="+mn-lt"/>
              </a:rPr>
              <a:t>Thanks for your attention!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D029769-9B2F-4A51-8446-2206A9A2EF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900" smtClean="0">
                <a:solidFill>
                  <a:srgbClr val="ADAFBB"/>
                </a:solidFill>
              </a:rPr>
              <a:pPr/>
              <a:t>14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8DAB30E-4A95-4189-A17B-D6BED1B10135}"/>
              </a:ext>
            </a:extLst>
          </p:cNvPr>
          <p:cNvSpPr/>
          <p:nvPr/>
        </p:nvSpPr>
        <p:spPr>
          <a:xfrm>
            <a:off x="4993256" y="1754442"/>
            <a:ext cx="123868" cy="4200881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2719C9D-04F3-4DAC-9FB5-A9FED928C93B}"/>
              </a:ext>
            </a:extLst>
          </p:cNvPr>
          <p:cNvSpPr/>
          <p:nvPr/>
        </p:nvSpPr>
        <p:spPr>
          <a:xfrm>
            <a:off x="7599492" y="1754442"/>
            <a:ext cx="123868" cy="4200881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>
            <a:hlinkClick r:id="rId7"/>
            <a:extLst>
              <a:ext uri="{FF2B5EF4-FFF2-40B4-BE49-F238E27FC236}">
                <a16:creationId xmlns:a16="http://schemas.microsoft.com/office/drawing/2014/main" id="{771DD74C-7D3F-DE9F-D2F1-58329D0C358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94834" y="3004556"/>
            <a:ext cx="5038200" cy="118497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D7FB609-A863-8150-7235-F7110B23F9D1}"/>
              </a:ext>
            </a:extLst>
          </p:cNvPr>
          <p:cNvSpPr txBox="1"/>
          <p:nvPr/>
        </p:nvSpPr>
        <p:spPr>
          <a:xfrm>
            <a:off x="4077852" y="4302860"/>
            <a:ext cx="36721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B0F0"/>
                </a:solidFill>
                <a:hlinkClick r:id="rId9"/>
              </a:rPr>
              <a:t>www.domontconsulting.com</a:t>
            </a:r>
            <a:r>
              <a:rPr lang="en-US" dirty="0">
                <a:solidFill>
                  <a:srgbClr val="00B0F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897254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Introduc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37E1C4-A2D7-4558-A504-36AC892021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2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54CC573-61B1-49E0-840D-529396975FB2}"/>
              </a:ext>
            </a:extLst>
          </p:cNvPr>
          <p:cNvSpPr txBox="1"/>
          <p:nvPr/>
        </p:nvSpPr>
        <p:spPr>
          <a:xfrm>
            <a:off x="514114" y="1628503"/>
            <a:ext cx="111640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A Discounted Cash Flow (DCF) Analysis is a valuation method used to estimate the attractiveness of an investment opportunity. DCF analysis uses future free cash flow projections and discounts them to arrive at a present value estimate, which is used to evaluate the potential for investment.</a:t>
            </a:r>
          </a:p>
          <a:p>
            <a:endParaRPr lang="en-GB" sz="1400" b="1" dirty="0"/>
          </a:p>
          <a:p>
            <a:r>
              <a:rPr lang="en-GB" sz="1400" b="1" dirty="0"/>
              <a:t>See below the formula to estimate a </a:t>
            </a:r>
            <a:r>
              <a:rPr lang="en-GB" sz="1400" b="1" dirty="0">
                <a:solidFill>
                  <a:srgbClr val="002060"/>
                </a:solidFill>
                <a:ea typeface="ＭＳ Ｐゴシック" pitchFamily="50" charset="-128"/>
              </a:rPr>
              <a:t>Company estimated Intrinsic Value</a:t>
            </a:r>
            <a:r>
              <a:rPr lang="en-GB" sz="1400" b="1" dirty="0"/>
              <a:t>:</a:t>
            </a:r>
          </a:p>
          <a:p>
            <a:endParaRPr lang="en-GB" sz="14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14E6A89-00E5-7B15-129C-7E2EAAADB1E4}"/>
              </a:ext>
            </a:extLst>
          </p:cNvPr>
          <p:cNvSpPr/>
          <p:nvPr/>
        </p:nvSpPr>
        <p:spPr>
          <a:xfrm>
            <a:off x="1747491" y="3249355"/>
            <a:ext cx="2282249" cy="1014303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91440" tIns="91440" rIns="91440" bIns="91440" anchor="ctr"/>
          <a:lstStyle/>
          <a:p>
            <a:pPr algn="ctr"/>
            <a:r>
              <a:rPr lang="en-GB" sz="1400" b="1" dirty="0">
                <a:solidFill>
                  <a:srgbClr val="002060"/>
                </a:solidFill>
                <a:ea typeface="ＭＳ Ｐゴシック" pitchFamily="50" charset="-128"/>
              </a:rPr>
              <a:t>Company estimated Intrinsic Value</a:t>
            </a:r>
            <a:endParaRPr lang="en-US" sz="1400" b="1" dirty="0">
              <a:solidFill>
                <a:srgbClr val="002060"/>
              </a:solidFill>
              <a:ea typeface="ＭＳ Ｐゴシック" pitchFamily="50" charset="-128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6F2F7A6-095F-16AE-6DDF-964157B2D575}"/>
              </a:ext>
            </a:extLst>
          </p:cNvPr>
          <p:cNvSpPr txBox="1"/>
          <p:nvPr/>
        </p:nvSpPr>
        <p:spPr>
          <a:xfrm>
            <a:off x="4210493" y="3493081"/>
            <a:ext cx="40403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/>
              <a:t>=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C3BEF05-2ED9-FFE6-6CB1-3BA90F0E5EE3}"/>
              </a:ext>
            </a:extLst>
          </p:cNvPr>
          <p:cNvSpPr/>
          <p:nvPr/>
        </p:nvSpPr>
        <p:spPr>
          <a:xfrm>
            <a:off x="4789115" y="3249355"/>
            <a:ext cx="2282249" cy="1014303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91440" tIns="91440" rIns="91440" bIns="91440" anchor="ctr"/>
          <a:lstStyle/>
          <a:p>
            <a:pPr algn="ctr"/>
            <a:r>
              <a:rPr lang="en-GB" sz="1400" b="1" dirty="0">
                <a:solidFill>
                  <a:srgbClr val="002060"/>
                </a:solidFill>
                <a:ea typeface="ＭＳ Ｐゴシック" pitchFamily="50" charset="-128"/>
              </a:rPr>
              <a:t>Net Present Value of Unlevered Free Cash Flow</a:t>
            </a:r>
            <a:endParaRPr lang="en-US" sz="1400" b="1" dirty="0">
              <a:solidFill>
                <a:srgbClr val="002060"/>
              </a:solidFill>
              <a:ea typeface="ＭＳ Ｐゴシック" pitchFamily="50" charset="-128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A77C15-F6D1-D1B7-BC9D-ADA12D590547}"/>
              </a:ext>
            </a:extLst>
          </p:cNvPr>
          <p:cNvSpPr txBox="1"/>
          <p:nvPr/>
        </p:nvSpPr>
        <p:spPr>
          <a:xfrm>
            <a:off x="7319784" y="3493081"/>
            <a:ext cx="40403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/>
              <a:t>+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BEB1C21-2F5F-D52C-5F6E-6479FC2DB7AE}"/>
              </a:ext>
            </a:extLst>
          </p:cNvPr>
          <p:cNvSpPr/>
          <p:nvPr/>
        </p:nvSpPr>
        <p:spPr>
          <a:xfrm>
            <a:off x="7898406" y="3249355"/>
            <a:ext cx="2282249" cy="1014303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19050" algn="ctr">
            <a:noFill/>
            <a:miter lim="800000"/>
            <a:headEnd type="none" w="sm" len="sm"/>
            <a:tailEnd type="none" w="sm" len="sm"/>
          </a:ln>
        </p:spPr>
        <p:txBody>
          <a:bodyPr wrap="square" lIns="91440" tIns="91440" rIns="91440" bIns="91440" anchor="ctr"/>
          <a:lstStyle/>
          <a:p>
            <a:pPr algn="ctr"/>
            <a:r>
              <a:rPr lang="en-GB" sz="1400" b="1" dirty="0">
                <a:solidFill>
                  <a:srgbClr val="002060"/>
                </a:solidFill>
                <a:ea typeface="ＭＳ Ｐゴシック" pitchFamily="50" charset="-128"/>
              </a:rPr>
              <a:t>Net Present Value of Terminal Value</a:t>
            </a:r>
            <a:endParaRPr lang="en-US" sz="1400" b="1" dirty="0">
              <a:solidFill>
                <a:srgbClr val="002060"/>
              </a:solidFill>
              <a:ea typeface="ＭＳ Ｐゴシック" pitchFamily="50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3F0D61C-B96F-3CCB-B03B-CE5B19D1F329}"/>
              </a:ext>
            </a:extLst>
          </p:cNvPr>
          <p:cNvSpPr txBox="1"/>
          <p:nvPr/>
        </p:nvSpPr>
        <p:spPr>
          <a:xfrm>
            <a:off x="514114" y="4531195"/>
            <a:ext cx="1116408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1400" dirty="0"/>
          </a:p>
          <a:p>
            <a:r>
              <a:rPr lang="en-GB" sz="1400" b="1" dirty="0"/>
              <a:t>Then you can decide if it is a good investment by:</a:t>
            </a:r>
          </a:p>
          <a:p>
            <a:pPr marL="285750" indent="-200025">
              <a:buFont typeface="Arial" panose="020B0604020202020204" pitchFamily="34" charset="0"/>
              <a:buChar char="•"/>
            </a:pPr>
            <a:r>
              <a:rPr lang="en-GB" sz="1400" dirty="0"/>
              <a:t>Comparing the Company estimated Intrinsic Value and the </a:t>
            </a:r>
            <a:r>
              <a:rPr lang="en-GB" sz="1400" dirty="0">
                <a:solidFill>
                  <a:srgbClr val="002060"/>
                </a:solidFill>
                <a:ea typeface="ＭＳ Ｐゴシック" pitchFamily="50" charset="-128"/>
              </a:rPr>
              <a:t>Market Value</a:t>
            </a:r>
          </a:p>
          <a:p>
            <a:pPr marL="285750" indent="-200025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002060"/>
                </a:solidFill>
                <a:ea typeface="ＭＳ Ｐゴシック" pitchFamily="50" charset="-128"/>
              </a:rPr>
              <a:t>Calculating the Internal Rate of Return</a:t>
            </a:r>
          </a:p>
          <a:p>
            <a:pPr marL="285750" indent="-200025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002060"/>
                </a:solidFill>
                <a:ea typeface="ＭＳ Ｐゴシック" pitchFamily="50" charset="-128"/>
              </a:rPr>
              <a:t>Calculating the </a:t>
            </a:r>
            <a:r>
              <a:rPr lang="en-US" sz="1400" dirty="0">
                <a:solidFill>
                  <a:srgbClr val="002060"/>
                </a:solidFill>
                <a:ea typeface="ＭＳ Ｐゴシック" pitchFamily="50" charset="-128"/>
              </a:rPr>
              <a:t>Target Price Upside</a:t>
            </a:r>
          </a:p>
          <a:p>
            <a:endParaRPr lang="en-GB" sz="1400" b="1" dirty="0"/>
          </a:p>
          <a:p>
            <a:endParaRPr lang="en-GB" sz="1400" dirty="0"/>
          </a:p>
          <a:p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17623586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Building block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37E1C4-A2D7-4558-A504-36AC892021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lIns="91440" tIns="0" rIns="0" bIns="45720" rtlCol="0" anchor="ctr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3</a:t>
            </a:fld>
            <a:endParaRPr lang="en-US" sz="1000" dirty="0">
              <a:solidFill>
                <a:srgbClr val="ADAFBB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652B44-07D8-0AA1-D8FC-5FD593D9951A}"/>
              </a:ext>
            </a:extLst>
          </p:cNvPr>
          <p:cNvSpPr/>
          <p:nvPr/>
        </p:nvSpPr>
        <p:spPr>
          <a:xfrm>
            <a:off x="624493" y="5059355"/>
            <a:ext cx="2664000" cy="3600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AU" sz="14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bt &amp; Interes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DFB5905-20D0-D1B5-09DB-E385E1AAE743}"/>
              </a:ext>
            </a:extLst>
          </p:cNvPr>
          <p:cNvSpPr/>
          <p:nvPr/>
        </p:nvSpPr>
        <p:spPr>
          <a:xfrm>
            <a:off x="624493" y="2519920"/>
            <a:ext cx="2664000" cy="3600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AU" sz="14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come statemen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3AA7B5-55B0-67F8-EE81-07FB3F34D963}"/>
              </a:ext>
            </a:extLst>
          </p:cNvPr>
          <p:cNvSpPr/>
          <p:nvPr/>
        </p:nvSpPr>
        <p:spPr>
          <a:xfrm>
            <a:off x="624493" y="3535694"/>
            <a:ext cx="2664000" cy="3600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AU" sz="14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sh flow statemen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8052A8-F473-CD15-916B-8F9102A581D6}"/>
              </a:ext>
            </a:extLst>
          </p:cNvPr>
          <p:cNvSpPr/>
          <p:nvPr/>
        </p:nvSpPr>
        <p:spPr>
          <a:xfrm>
            <a:off x="624493" y="3027807"/>
            <a:ext cx="2664000" cy="3600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AU" sz="14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alance shee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6B425B9-11BC-CE08-A4AF-3A0A920EBC2F}"/>
              </a:ext>
            </a:extLst>
          </p:cNvPr>
          <p:cNvSpPr/>
          <p:nvPr/>
        </p:nvSpPr>
        <p:spPr>
          <a:xfrm>
            <a:off x="624493" y="4043581"/>
            <a:ext cx="2664000" cy="3600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AU" sz="14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orking capita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33445F9-A3A5-422A-0AD9-7B993B9FBEAF}"/>
              </a:ext>
            </a:extLst>
          </p:cNvPr>
          <p:cNvSpPr/>
          <p:nvPr/>
        </p:nvSpPr>
        <p:spPr>
          <a:xfrm>
            <a:off x="624493" y="4551468"/>
            <a:ext cx="2664000" cy="3600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AU" sz="14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preciation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F1512C6-582F-1470-B1D0-86DF79149A53}"/>
              </a:ext>
            </a:extLst>
          </p:cNvPr>
          <p:cNvSpPr/>
          <p:nvPr/>
        </p:nvSpPr>
        <p:spPr>
          <a:xfrm>
            <a:off x="624493" y="6075130"/>
            <a:ext cx="2664000" cy="360000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AU" sz="14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shboard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EFC0335-458E-F23D-D9DD-69870915C97C}"/>
              </a:ext>
            </a:extLst>
          </p:cNvPr>
          <p:cNvSpPr/>
          <p:nvPr/>
        </p:nvSpPr>
        <p:spPr>
          <a:xfrm>
            <a:off x="624493" y="2012033"/>
            <a:ext cx="2664000" cy="3600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AU" sz="14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ssumptio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08E31C5-C0F3-F485-F2A2-1D8534FFB588}"/>
              </a:ext>
            </a:extLst>
          </p:cNvPr>
          <p:cNvSpPr/>
          <p:nvPr/>
        </p:nvSpPr>
        <p:spPr>
          <a:xfrm>
            <a:off x="624493" y="5567242"/>
            <a:ext cx="2664000" cy="360000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AU" sz="14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CF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F993BF6-3B9F-75B6-63BF-1EB8BD0FEEC3}"/>
              </a:ext>
            </a:extLst>
          </p:cNvPr>
          <p:cNvSpPr/>
          <p:nvPr/>
        </p:nvSpPr>
        <p:spPr>
          <a:xfrm>
            <a:off x="7378995" y="586362"/>
            <a:ext cx="4208168" cy="328037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AU" sz="14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locks from the 3 statement financial model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9354E4B-183A-6F06-87D8-0DFEF630D7A8}"/>
              </a:ext>
            </a:extLst>
          </p:cNvPr>
          <p:cNvSpPr/>
          <p:nvPr/>
        </p:nvSpPr>
        <p:spPr>
          <a:xfrm>
            <a:off x="7378995" y="985643"/>
            <a:ext cx="4208168" cy="328037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AU" sz="14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ew Building Blocks to be created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D1397AC-D55C-AC87-1AA6-F418ABB845B7}"/>
              </a:ext>
            </a:extLst>
          </p:cNvPr>
          <p:cNvSpPr/>
          <p:nvPr/>
        </p:nvSpPr>
        <p:spPr>
          <a:xfrm>
            <a:off x="3442123" y="1575504"/>
            <a:ext cx="370800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AU" sz="1400" b="1" kern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ctual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7C050BB-CB15-C60B-F064-FBE207321C92}"/>
              </a:ext>
            </a:extLst>
          </p:cNvPr>
          <p:cNvSpPr/>
          <p:nvPr/>
        </p:nvSpPr>
        <p:spPr>
          <a:xfrm>
            <a:off x="7599453" y="1575504"/>
            <a:ext cx="370800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AU" sz="1400" b="1" kern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stimates</a:t>
            </a:r>
          </a:p>
        </p:txBody>
      </p:sp>
    </p:spTree>
    <p:extLst>
      <p:ext uri="{BB962C8B-B14F-4D97-AF65-F5344CB8AC3E}">
        <p14:creationId xmlns:p14="http://schemas.microsoft.com/office/powerpoint/2010/main" val="12751606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0812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Step 1 - Open the document “</a:t>
            </a:r>
            <a:r>
              <a:rPr lang="en-GB" sz="2400" kern="0" dirty="0"/>
              <a:t>Discounted Cash Flow Model” and f</a:t>
            </a:r>
            <a:r>
              <a:rPr lang="en-US" sz="2400" kern="0" dirty="0"/>
              <a:t>ill in the cover pag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4</a:t>
            </a:fld>
            <a:endParaRPr lang="en-US" sz="1000" dirty="0">
              <a:solidFill>
                <a:srgbClr val="ADAFBB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219ED5F-9FC2-E64A-A8BD-2C01139A887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32134" y="2120808"/>
            <a:ext cx="9527732" cy="388658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416045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Step 2 - </a:t>
            </a:r>
            <a:r>
              <a:rPr lang="en-GB" sz="2400" kern="0" dirty="0"/>
              <a:t>Apply the same steps described in </a:t>
            </a:r>
            <a:r>
              <a:rPr lang="en-GB" sz="2400" kern="0"/>
              <a:t>the documents </a:t>
            </a:r>
            <a:r>
              <a:rPr lang="en-GB" sz="2400" kern="0" dirty="0"/>
              <a:t>“1b. Three Financial Statements Model - Tutorial”</a:t>
            </a:r>
            <a:endParaRPr lang="en-US" sz="2400" kern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5</a:t>
            </a:fld>
            <a:endParaRPr lang="en-US" sz="1000" dirty="0">
              <a:solidFill>
                <a:srgbClr val="ADAFBB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9CCE1A3-E975-8538-8290-6C18ACCF1DD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46670" y="1877661"/>
            <a:ext cx="7452242" cy="419188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4" name="Rounded Rectangular Callout 9">
            <a:extLst>
              <a:ext uri="{FF2B5EF4-FFF2-40B4-BE49-F238E27FC236}">
                <a16:creationId xmlns:a16="http://schemas.microsoft.com/office/drawing/2014/main" id="{638A5002-A231-C01B-9000-C5B6C6AEF16E}"/>
              </a:ext>
            </a:extLst>
          </p:cNvPr>
          <p:cNvSpPr/>
          <p:nvPr/>
        </p:nvSpPr>
        <p:spPr bwMode="auto">
          <a:xfrm>
            <a:off x="7634178" y="5301265"/>
            <a:ext cx="4167962" cy="1049865"/>
          </a:xfrm>
          <a:prstGeom prst="wedgeRoundRectCallout">
            <a:avLst>
              <a:gd name="adj1" fmla="val -43903"/>
              <a:gd name="adj2" fmla="val -79802"/>
              <a:gd name="adj3" fmla="val 16667"/>
            </a:avLst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</a:pPr>
            <a:r>
              <a:rPr lang="en-US" sz="1200" b="1" dirty="0">
                <a:cs typeface="Times New Roman" pitchFamily="18" charset="0"/>
              </a:rPr>
              <a:t>The </a:t>
            </a:r>
            <a:r>
              <a:rPr lang="en-GB" sz="1200" b="1" kern="0" dirty="0"/>
              <a:t>Three Financial Statements Model is often used as the foundations of most models. In other words, to create a DCF Model, you need to first create a Three Financial Statements Model </a:t>
            </a:r>
            <a:endParaRPr lang="en-US" sz="1200" b="1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99045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Step 3 - </a:t>
            </a:r>
            <a:r>
              <a:rPr lang="en-GB" sz="2400" kern="0" dirty="0"/>
              <a:t>Insert your assumptions in the building block “Discounted Cash Flow”</a:t>
            </a:r>
            <a:endParaRPr lang="en-US" sz="2400" kern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6</a:t>
            </a:fld>
            <a:endParaRPr lang="en-US" sz="1000" dirty="0">
              <a:solidFill>
                <a:srgbClr val="ADAFBB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D0DE256-B4AB-A1B7-103D-DE8008B5F8F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79383" y="2134056"/>
            <a:ext cx="9073412" cy="345484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9" name="Rounded Rectangular Callout 9">
            <a:extLst>
              <a:ext uri="{FF2B5EF4-FFF2-40B4-BE49-F238E27FC236}">
                <a16:creationId xmlns:a16="http://schemas.microsoft.com/office/drawing/2014/main" id="{32157368-BDAE-0E1E-BBC3-6A933FB1DD8C}"/>
              </a:ext>
            </a:extLst>
          </p:cNvPr>
          <p:cNvSpPr/>
          <p:nvPr/>
        </p:nvSpPr>
        <p:spPr bwMode="auto">
          <a:xfrm>
            <a:off x="6991421" y="4206112"/>
            <a:ext cx="3237099" cy="1049865"/>
          </a:xfrm>
          <a:prstGeom prst="wedgeRoundRectCallout">
            <a:avLst>
              <a:gd name="adj1" fmla="val -74778"/>
              <a:gd name="adj2" fmla="val -84866"/>
              <a:gd name="adj3" fmla="val 16667"/>
            </a:avLst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</a:pPr>
            <a:r>
              <a:rPr lang="en-GB" sz="1200" b="1" dirty="0">
                <a:cs typeface="Times New Roman" pitchFamily="18" charset="0"/>
              </a:rPr>
              <a:t>The discount rate is usually the Weighted Average Cost of Capital (WACC). You can open our WACC Model folder for more details on how to calculate the WACC</a:t>
            </a:r>
            <a:endParaRPr lang="en-US" sz="1200" b="1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80193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Step 4 - </a:t>
            </a:r>
            <a:r>
              <a:rPr lang="en-GB" sz="2400" kern="0" dirty="0"/>
              <a:t>Estimate the Unlevered Free Cash Flow</a:t>
            </a:r>
            <a:endParaRPr lang="en-US" sz="2400" kern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7</a:t>
            </a:fld>
            <a:endParaRPr lang="en-US" sz="1000" dirty="0">
              <a:solidFill>
                <a:srgbClr val="ADAFBB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A8A2D8D-AE91-3D4D-BFF1-10061341F1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13400" y="2603983"/>
            <a:ext cx="8274475" cy="267348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Rounded Rectangular Callout 10">
            <a:extLst>
              <a:ext uri="{FF2B5EF4-FFF2-40B4-BE49-F238E27FC236}">
                <a16:creationId xmlns:a16="http://schemas.microsoft.com/office/drawing/2014/main" id="{18BBCB72-951F-44C6-F496-A3C7690858B6}"/>
              </a:ext>
            </a:extLst>
          </p:cNvPr>
          <p:cNvSpPr/>
          <p:nvPr/>
        </p:nvSpPr>
        <p:spPr bwMode="auto">
          <a:xfrm>
            <a:off x="7009495" y="1725413"/>
            <a:ext cx="4343400" cy="609600"/>
          </a:xfrm>
          <a:prstGeom prst="wedgeRoundRectCallout">
            <a:avLst>
              <a:gd name="adj1" fmla="val -52044"/>
              <a:gd name="adj2" fmla="val 275448"/>
              <a:gd name="adj3" fmla="val 16667"/>
            </a:avLst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</a:pPr>
            <a:r>
              <a:rPr lang="en-US" sz="1200" b="1" dirty="0">
                <a:cs typeface="Times New Roman" pitchFamily="18" charset="0"/>
              </a:rPr>
              <a:t>Ideally all these figures should be pulled from either the income statement or the Balance sheet</a:t>
            </a:r>
          </a:p>
        </p:txBody>
      </p:sp>
      <p:sp>
        <p:nvSpPr>
          <p:cNvPr id="7" name="Rounded Rectangular Callout 10">
            <a:extLst>
              <a:ext uri="{FF2B5EF4-FFF2-40B4-BE49-F238E27FC236}">
                <a16:creationId xmlns:a16="http://schemas.microsoft.com/office/drawing/2014/main" id="{BF87C73D-AE5B-0525-A208-67E8ACF95D9A}"/>
              </a:ext>
            </a:extLst>
          </p:cNvPr>
          <p:cNvSpPr/>
          <p:nvPr/>
        </p:nvSpPr>
        <p:spPr bwMode="auto">
          <a:xfrm>
            <a:off x="6307746" y="5546440"/>
            <a:ext cx="4343400" cy="609600"/>
          </a:xfrm>
          <a:prstGeom prst="wedgeRoundRectCallout">
            <a:avLst>
              <a:gd name="adj1" fmla="val -56695"/>
              <a:gd name="adj2" fmla="val -96063"/>
              <a:gd name="adj3" fmla="val 16667"/>
            </a:avLst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</a:pPr>
            <a:r>
              <a:rPr lang="en-US" sz="1200" b="1" dirty="0">
                <a:cs typeface="Times New Roman" pitchFamily="18" charset="0"/>
              </a:rPr>
              <a:t>Since $1 earned in the future is worth less than $1 earned today, it is important to calculate the Net Present Value of Unlevered Free Cash Flow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69E1472-A475-EFAD-FE37-720238EA6568}"/>
              </a:ext>
            </a:extLst>
          </p:cNvPr>
          <p:cNvSpPr/>
          <p:nvPr/>
        </p:nvSpPr>
        <p:spPr>
          <a:xfrm>
            <a:off x="6209414" y="3646968"/>
            <a:ext cx="3838353" cy="1190847"/>
          </a:xfrm>
          <a:prstGeom prst="rect">
            <a:avLst/>
          </a:prstGeom>
          <a:noFill/>
          <a:ln w="28575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2937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Step 5 - </a:t>
            </a:r>
            <a:r>
              <a:rPr lang="en-GB" sz="2400" kern="0" dirty="0"/>
              <a:t>Calculate the Net Present Value of Unlevered Free Cash Flow</a:t>
            </a:r>
            <a:endParaRPr lang="en-US" sz="2400" kern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8</a:t>
            </a:fld>
            <a:endParaRPr lang="en-US" sz="1000" dirty="0">
              <a:solidFill>
                <a:srgbClr val="ADAFBB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A8A2D8D-AE91-3D4D-BFF1-10061341F1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13400" y="2603983"/>
            <a:ext cx="8274475" cy="267348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7" name="Rounded Rectangular Callout 10">
            <a:extLst>
              <a:ext uri="{FF2B5EF4-FFF2-40B4-BE49-F238E27FC236}">
                <a16:creationId xmlns:a16="http://schemas.microsoft.com/office/drawing/2014/main" id="{BF87C73D-AE5B-0525-A208-67E8ACF95D9A}"/>
              </a:ext>
            </a:extLst>
          </p:cNvPr>
          <p:cNvSpPr/>
          <p:nvPr/>
        </p:nvSpPr>
        <p:spPr bwMode="auto">
          <a:xfrm>
            <a:off x="6307746" y="5546440"/>
            <a:ext cx="4343400" cy="609600"/>
          </a:xfrm>
          <a:prstGeom prst="wedgeRoundRectCallout">
            <a:avLst>
              <a:gd name="adj1" fmla="val -56695"/>
              <a:gd name="adj2" fmla="val -96063"/>
              <a:gd name="adj3" fmla="val 16667"/>
            </a:avLst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91428" tIns="45715" rIns="91428" bIns="45715" rtlCol="0" anchor="ctr">
            <a:noAutofit/>
          </a:bodyPr>
          <a:lstStyle/>
          <a:p>
            <a:pPr defTabSz="623853" fontAlgn="base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</a:pPr>
            <a:r>
              <a:rPr lang="en-US" sz="1200" b="1" dirty="0">
                <a:cs typeface="Times New Roman" pitchFamily="18" charset="0"/>
              </a:rPr>
              <a:t>Since $1 earned in the future is worth less than $1 earned today, it is important to calculate the Net Present Value of Unlevered Free Cash Flow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69E1472-A475-EFAD-FE37-720238EA6568}"/>
              </a:ext>
            </a:extLst>
          </p:cNvPr>
          <p:cNvSpPr/>
          <p:nvPr/>
        </p:nvSpPr>
        <p:spPr>
          <a:xfrm>
            <a:off x="6209414" y="5071733"/>
            <a:ext cx="3838353" cy="205737"/>
          </a:xfrm>
          <a:prstGeom prst="rect">
            <a:avLst/>
          </a:prstGeom>
          <a:noFill/>
          <a:ln w="28575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4302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Step 6 - </a:t>
            </a:r>
            <a:r>
              <a:rPr lang="en-GB" sz="2400" kern="0" dirty="0"/>
              <a:t>Calculate the Net Present Value of Terminal Value using the Perpetual Growth Method and the EV/EBITDA Method</a:t>
            </a:r>
            <a:endParaRPr lang="en-US" sz="2400" kern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9</a:t>
            </a:fld>
            <a:endParaRPr lang="en-US" sz="1000" dirty="0">
              <a:solidFill>
                <a:srgbClr val="ADAFBB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842FF19-5B52-1B36-FDA8-C08F8DBA56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58812" y="2399494"/>
            <a:ext cx="9097408" cy="292741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8625617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pS5c_u2rcscH0p4y0Yx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CGo3lxPmK8flqAW0bYK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CeUDcePKgj0xqcnmv_p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Kida.MS5kMGRUFsWFZv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EWO7WWN9QWB4K3IhIZ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GsCkNkRhuL49EEhsihu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EHY7w9p97v31oJEX9mA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hBuMYoa_dtSDYHoSM8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LE9WS72SqpZufFKGkeW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Fj9g7Zy2LthORA4sdbv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hBuMYoa_dtSDYHoSM8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4gUWU8MlMuyVogI3m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4gUWU8MlMuyVogI3md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UH_xXmEzv2_WM4PaUP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hBuMYoa_dtSDYHoSM8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EWO7WWN9QWB4K3IhIZ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EWO7WWN9QWB4K3IhIZ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9bA2qzL_OI5CL_ti06G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6aM223bIQD9wUkDKex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RfShUQN8FTtAcrfF62S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RMdNNrHr.Fz6OlAn.Ym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7i94FaZZ9FSlDn.04Kz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_1v.nYhFFi2BwYyULJx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ZwReGEvdtA3.xm0sCkt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NPk81ErqvxUDanQSKAt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TWRIS3ZY61o6K1QciUN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jKafwDCz_uITgUxTl_0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j1QEDEsmIAqRe7J7vvY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VvqDrREqN3Yla8_WSbs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bUodDbSucibtR54OvZp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hC6_kDFXJyN_hOBaRM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4gUWU8MlMuyVogI3md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ex4lEZb51ZHDV6yZ5nX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zsSmMf1Ire38WgrFfDT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UOp_ddDihdvoojH6YBn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B9PmGrFh5dR8FgxnrX9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V2KKbjTL1mzGbs8rjjo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M08TMrFoN9ALYrdVys.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jvStlLRMV8mpM3YOc0r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3qomJi.K3U9oEXE7OFa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O9SlSwOJBNSQq.CSP42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sQ5WF.vJ9It7PHwATp2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e0Gf_bimlPNzimQizje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3LID6yL11qrCsKc08Pxw"/>
</p:tagLst>
</file>

<file path=ppt/theme/theme1.xml><?xml version="1.0" encoding="utf-8"?>
<a:theme xmlns:a="http://schemas.openxmlformats.org/drawingml/2006/main" name="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8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eme3">
  <a:themeElements>
    <a:clrScheme name="Custom 1">
      <a:dk1>
        <a:srgbClr val="FFFFFF"/>
      </a:dk1>
      <a:lt1>
        <a:srgbClr val="002060"/>
      </a:lt1>
      <a:dk2>
        <a:srgbClr val="002060"/>
      </a:dk2>
      <a:lt2>
        <a:srgbClr val="002060"/>
      </a:lt2>
      <a:accent1>
        <a:srgbClr val="002060"/>
      </a:accent1>
      <a:accent2>
        <a:srgbClr val="00B0F0"/>
      </a:accent2>
      <a:accent3>
        <a:srgbClr val="00B050"/>
      </a:accent3>
      <a:accent4>
        <a:srgbClr val="92D050"/>
      </a:accent4>
      <a:accent5>
        <a:srgbClr val="FFC000"/>
      </a:accent5>
      <a:accent6>
        <a:srgbClr val="FF000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heme3" id="{7D1C7C3E-DDBB-4A1D-8861-A10BD3664B8D}" vid="{E1945AC1-AF09-43B9-95F3-80375804439E}"/>
    </a:ext>
  </a:extLst>
</a:theme>
</file>

<file path=ppt/theme/theme3.xml><?xml version="1.0" encoding="utf-8"?>
<a:theme xmlns:a="http://schemas.openxmlformats.org/drawingml/2006/main" name="1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6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7_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2" ma:contentTypeDescription="Create a new document." ma:contentTypeScope="" ma:versionID="a8a52e8c320b9a064ae3583ae3861c92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88020cb39231a0945110f9cd888b521a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71af3243-3dd4-4a8d-8c0d-dd76da1f02a5">Not started</Status>
    <MediaServiceKeyPoints xmlns="71af3243-3dd4-4a8d-8c0d-dd76da1f02a5" xsi:nil="true"/>
  </documentManagement>
</p:properties>
</file>

<file path=customXml/itemProps1.xml><?xml version="1.0" encoding="utf-8"?>
<ds:datastoreItem xmlns:ds="http://schemas.openxmlformats.org/officeDocument/2006/customXml" ds:itemID="{FD7FC771-7DFE-49DA-B577-71181BFBCB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EE8C63A-4744-4DE4-BB49-0FF0B5375C6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50072C5-DDE0-4258-BA7A-4D4B80DFA632}">
  <ds:schemaRefs>
    <ds:schemaRef ds:uri="http://schemas.microsoft.com/office/2006/metadata/properties"/>
    <ds:schemaRef ds:uri="http://schemas.microsoft.com/office/infopath/2007/PartnerControls"/>
    <ds:schemaRef ds:uri="71af3243-3dd4-4a8d-8c0d-dd76da1f02a5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45</TotalTime>
  <Words>517</Words>
  <Application>Microsoft Office PowerPoint</Application>
  <PresentationFormat>Widescreen</PresentationFormat>
  <Paragraphs>78</Paragraphs>
  <Slides>1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7" baseType="lpstr">
      <vt:lpstr>Arial</vt:lpstr>
      <vt:lpstr>Calibri</vt:lpstr>
      <vt:lpstr>Custom Design</vt:lpstr>
      <vt:lpstr>Theme3</vt:lpstr>
      <vt:lpstr>1_Custom Design</vt:lpstr>
      <vt:lpstr>2_Custom Design</vt:lpstr>
      <vt:lpstr>3_Custom Design</vt:lpstr>
      <vt:lpstr>4_Custom Design</vt:lpstr>
      <vt:lpstr>5_Custom Design</vt:lpstr>
      <vt:lpstr>6_Custom Design</vt:lpstr>
      <vt:lpstr>7_Custom Design</vt:lpstr>
      <vt:lpstr>8_Custom Design</vt:lpstr>
      <vt:lpstr>think-cell Slide</vt:lpstr>
      <vt:lpstr>Discounted Cash Flow Model  Example 1 - Tutorial</vt:lpstr>
      <vt:lpstr>Introduction</vt:lpstr>
      <vt:lpstr>Building blocks</vt:lpstr>
      <vt:lpstr>Step 1 - Open the document “Discounted Cash Flow Model” and fill in the cover page</vt:lpstr>
      <vt:lpstr>Step 2 - Apply the same steps described in the documents “1b. Three Financial Statements Model - Tutorial”</vt:lpstr>
      <vt:lpstr>Step 3 - Insert your assumptions in the building block “Discounted Cash Flow”</vt:lpstr>
      <vt:lpstr>Step 4 - Estimate the Unlevered Free Cash Flow</vt:lpstr>
      <vt:lpstr>Step 5 - Calculate the Net Present Value of Unlevered Free Cash Flow</vt:lpstr>
      <vt:lpstr>Step 6 - Calculate the Net Present Value of Terminal Value using the Perpetual Growth Method and the EV/EBITDA Method</vt:lpstr>
      <vt:lpstr>Step 7 - Calculate the Company estimated Intrinsic Value</vt:lpstr>
      <vt:lpstr>Step 8 - Calculate the current Market Value of the company</vt:lpstr>
      <vt:lpstr>Step 9 - Calculate your Internal Rate of Return based on the company estimated intrinsic value and the Market Value</vt:lpstr>
      <vt:lpstr>Interested in more than 1 Toolkit?  Access all our Toolkits for half the price with our Gold Access</vt:lpstr>
      <vt:lpstr>Thanks for your attention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PowerPoint</dc:title>
  <dc:creator>Aurelien Dom</dc:creator>
  <cp:keywords/>
  <cp:lastModifiedBy>Aurelien Domont</cp:lastModifiedBy>
  <cp:revision>374</cp:revision>
  <dcterms:created xsi:type="dcterms:W3CDTF">2020-07-08T04:44:55Z</dcterms:created>
  <dcterms:modified xsi:type="dcterms:W3CDTF">2023-05-11T06:29:11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